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sldIdLst>
    <p:sldId id="256" r:id="rId2"/>
    <p:sldId id="257" r:id="rId3"/>
    <p:sldId id="262" r:id="rId4"/>
    <p:sldId id="261" r:id="rId5"/>
    <p:sldId id="282" r:id="rId6"/>
    <p:sldId id="272" r:id="rId7"/>
    <p:sldId id="273" r:id="rId8"/>
    <p:sldId id="276" r:id="rId9"/>
    <p:sldId id="278" r:id="rId10"/>
    <p:sldId id="275" r:id="rId11"/>
    <p:sldId id="281" r:id="rId12"/>
    <p:sldId id="259" r:id="rId13"/>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0099FF"/>
    <a:srgbClr val="33CC33"/>
    <a:srgbClr val="FF6600"/>
    <a:srgbClr val="FF3300"/>
    <a:srgbClr val="EF7D00"/>
    <a:srgbClr val="969696"/>
    <a:srgbClr val="4B4432"/>
    <a:srgbClr val="E30613"/>
    <a:srgbClr val="B914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1729" autoAdjust="0"/>
  </p:normalViewPr>
  <p:slideViewPr>
    <p:cSldViewPr snapToGrid="0">
      <p:cViewPr varScale="1">
        <p:scale>
          <a:sx n="91" d="100"/>
          <a:sy n="91" d="100"/>
        </p:scale>
        <p:origin x="-1266" y="-10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32C89D3-D1D2-40C6-93A4-6DB2757DC2FC}" type="datetimeFigureOut">
              <a:rPr lang="fr-FR" smtClean="0"/>
              <a:t>11/12/2013</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63FCB2-F69B-4D43-BAB4-1FA35A60DB19}" type="slidenum">
              <a:rPr lang="fr-FR" smtClean="0"/>
              <a:t>‹N°›</a:t>
            </a:fld>
            <a:endParaRPr lang="fr-FR"/>
          </a:p>
        </p:txBody>
      </p:sp>
    </p:spTree>
    <p:extLst>
      <p:ext uri="{BB962C8B-B14F-4D97-AF65-F5344CB8AC3E}">
        <p14:creationId xmlns:p14="http://schemas.microsoft.com/office/powerpoint/2010/main" val="36028387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9363FCB2-F69B-4D43-BAB4-1FA35A60DB19}" type="slidenum">
              <a:rPr lang="fr-FR" smtClean="0"/>
              <a:t>4</a:t>
            </a:fld>
            <a:endParaRPr lang="fr-FR"/>
          </a:p>
        </p:txBody>
      </p:sp>
    </p:spTree>
    <p:extLst>
      <p:ext uri="{BB962C8B-B14F-4D97-AF65-F5344CB8AC3E}">
        <p14:creationId xmlns:p14="http://schemas.microsoft.com/office/powerpoint/2010/main" val="3188042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Resource </a:t>
            </a:r>
            <a:r>
              <a:rPr lang="fr-FR" dirty="0" err="1" smtClean="0"/>
              <a:t>Governor</a:t>
            </a:r>
            <a:r>
              <a:rPr lang="fr-FR" baseline="0" dirty="0" smtClean="0"/>
              <a:t> : pas assez utilisé. Permet d’affecter des priorités de ressources à des groupes de connexion (applications, groupes </a:t>
            </a:r>
            <a:r>
              <a:rPr lang="fr-FR" baseline="0" dirty="0" err="1" smtClean="0"/>
              <a:t>users</a:t>
            </a:r>
            <a:r>
              <a:rPr lang="fr-FR" baseline="0" dirty="0" smtClean="0"/>
              <a:t> AD…). IOPS à partir de 2014, utilisé dans Azure (SQL </a:t>
            </a:r>
            <a:r>
              <a:rPr lang="fr-FR" baseline="0" dirty="0" err="1" smtClean="0"/>
              <a:t>Database</a:t>
            </a:r>
            <a:r>
              <a:rPr lang="fr-FR" baseline="0" dirty="0" smtClean="0"/>
              <a:t>).</a:t>
            </a:r>
          </a:p>
          <a:p>
            <a:r>
              <a:rPr lang="fr-FR" baseline="0" dirty="0" smtClean="0"/>
              <a:t>Compression : permet de gagner en volume sur le disque, mais surtout d’améliorer l’efficacité de la mémoire, Trop souvent, on met une clé sur la date, ce qui n’apporte pas grand-chose</a:t>
            </a:r>
            <a:r>
              <a:rPr lang="fr-FR" baseline="0" dirty="0" smtClean="0"/>
              <a:t>. Penser à bien prendre le temps de choisir sa clé et à TESTER !</a:t>
            </a:r>
            <a:endParaRPr lang="fr-FR" baseline="0" dirty="0" smtClean="0"/>
          </a:p>
          <a:p>
            <a:r>
              <a:rPr lang="fr-FR" baseline="0" dirty="0" smtClean="0"/>
              <a:t>Partitionnement : permet d’optimiser l’utilisation de la mémoire en ne montant que les données chaudes</a:t>
            </a:r>
          </a:p>
          <a:p>
            <a:r>
              <a:rPr lang="fr-FR" baseline="0" dirty="0" err="1" smtClean="0"/>
              <a:t>Column</a:t>
            </a:r>
            <a:r>
              <a:rPr lang="fr-FR" baseline="0" dirty="0" smtClean="0"/>
              <a:t> Store Index : </a:t>
            </a:r>
            <a:r>
              <a:rPr lang="fr-FR" baseline="0" dirty="0" smtClean="0"/>
              <a:t>Gains énormes, grâce à la compression et à la remontée en mémoire des colonnes réellement utiles</a:t>
            </a:r>
            <a:endParaRPr lang="fr-FR" baseline="0" dirty="0" smtClean="0"/>
          </a:p>
          <a:p>
            <a:r>
              <a:rPr lang="fr-FR" baseline="0" dirty="0" smtClean="0"/>
              <a:t>In Memory : compiler en code natif des procédures stockées qui attaquent ces tables. Pour l’OLTP. Données compressées en mémoire, écriture sur disque uniquement séquentielles, contrairement aux autres tables. Données sur disques comme pour les autres. Pas de </a:t>
            </a:r>
            <a:r>
              <a:rPr lang="fr-FR" baseline="0" dirty="0" err="1" smtClean="0"/>
              <a:t>pb</a:t>
            </a:r>
            <a:r>
              <a:rPr lang="fr-FR" baseline="0" dirty="0" smtClean="0"/>
              <a:t> avec HA. ACID. Pour les tables où il y a </a:t>
            </a:r>
            <a:r>
              <a:rPr lang="fr-FR" baseline="0" dirty="0" err="1" smtClean="0"/>
              <a:t>bcp</a:t>
            </a:r>
            <a:r>
              <a:rPr lang="fr-FR" baseline="0" dirty="0" smtClean="0"/>
              <a:t> de nb de transaction/s .</a:t>
            </a:r>
          </a:p>
          <a:p>
            <a:r>
              <a:rPr lang="fr-FR" dirty="0" smtClean="0"/>
              <a:t>Buffer Pool </a:t>
            </a:r>
            <a:r>
              <a:rPr lang="fr-FR" dirty="0" smtClean="0"/>
              <a:t>Extension / SSD</a:t>
            </a:r>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5</a:t>
            </a:fld>
            <a:endParaRPr lang="fr-FR"/>
          </a:p>
        </p:txBody>
      </p:sp>
    </p:spTree>
    <p:extLst>
      <p:ext uri="{BB962C8B-B14F-4D97-AF65-F5344CB8AC3E}">
        <p14:creationId xmlns:p14="http://schemas.microsoft.com/office/powerpoint/2010/main" val="4739811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baseline="0" dirty="0" smtClean="0"/>
              <a:t>Partitionnement : Permet de manipuler de petites portions de grosse tables; permet d’optimiser l’utilisation de la mémoire en ne montant que les données chaudes. </a:t>
            </a:r>
          </a:p>
          <a:p>
            <a:endParaRPr lang="fr-FR" dirty="0" smtClean="0"/>
          </a:p>
          <a:p>
            <a:r>
              <a:rPr lang="fr-FR" dirty="0" smtClean="0"/>
              <a:t>Resource </a:t>
            </a:r>
            <a:r>
              <a:rPr lang="fr-FR" dirty="0" err="1" smtClean="0"/>
              <a:t>Governor</a:t>
            </a:r>
            <a:r>
              <a:rPr lang="fr-FR" baseline="0" dirty="0" smtClean="0"/>
              <a:t> : pas assez utilisé. Permet d’affecter des priorités de ressources à des groupes de connexion (applications, groupes </a:t>
            </a:r>
            <a:r>
              <a:rPr lang="fr-FR" baseline="0" dirty="0" err="1" smtClean="0"/>
              <a:t>users</a:t>
            </a:r>
            <a:r>
              <a:rPr lang="fr-FR" baseline="0" dirty="0" smtClean="0"/>
              <a:t> AD…). IOPS à partir de 2014, utilisé dans Azure (SQL </a:t>
            </a:r>
            <a:r>
              <a:rPr lang="fr-FR" baseline="0" dirty="0" err="1" smtClean="0"/>
              <a:t>Database</a:t>
            </a:r>
            <a:r>
              <a:rPr lang="fr-FR" baseline="0" dirty="0" smtClean="0"/>
              <a:t>).</a:t>
            </a:r>
          </a:p>
          <a:p>
            <a:endParaRPr lang="fr-FR" baseline="0" dirty="0" smtClean="0"/>
          </a:p>
          <a:p>
            <a:r>
              <a:rPr lang="fr-FR" baseline="0" dirty="0" smtClean="0"/>
              <a:t>Compression : permet de gagner en volume sur le disque, mais surtout d’améliorer l’efficacité de la mémoire (moins de pages lues / </a:t>
            </a:r>
            <a:r>
              <a:rPr lang="fr-FR" baseline="0" dirty="0" err="1" smtClean="0"/>
              <a:t>ecrites</a:t>
            </a:r>
            <a:r>
              <a:rPr lang="fr-FR" baseline="0" dirty="0" smtClean="0"/>
              <a:t>). Contrepartie = plus de CPU</a:t>
            </a:r>
          </a:p>
          <a:p>
            <a:endParaRPr lang="fr-FR" baseline="0" dirty="0" smtClean="0"/>
          </a:p>
          <a:p>
            <a:r>
              <a:rPr lang="fr-FR" baseline="0" dirty="0" err="1" smtClean="0"/>
              <a:t>Column</a:t>
            </a:r>
            <a:r>
              <a:rPr lang="fr-FR" baseline="0" dirty="0" smtClean="0"/>
              <a:t> Store Index :  </a:t>
            </a:r>
            <a:r>
              <a:rPr lang="fr-FR" baseline="0" dirty="0" err="1" smtClean="0"/>
              <a:t>xVelocity</a:t>
            </a:r>
            <a:r>
              <a:rPr lang="fr-FR" baseline="0" dirty="0" smtClean="0"/>
              <a:t> : compression en mémoire plus efficaces par stockage en colonne. Pour DW.</a:t>
            </a:r>
          </a:p>
          <a:p>
            <a:endParaRPr lang="fr-F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fr-FR" baseline="0" dirty="0" err="1" smtClean="0"/>
              <a:t>AlwaysOn</a:t>
            </a:r>
            <a:r>
              <a:rPr lang="fr-FR" baseline="0" dirty="0" smtClean="0"/>
              <a:t> : avantages : </a:t>
            </a:r>
            <a:r>
              <a:rPr lang="fr-FR" baseline="0" dirty="0" err="1" smtClean="0"/>
              <a:t>Scale</a:t>
            </a:r>
            <a:r>
              <a:rPr lang="fr-FR" baseline="0" dirty="0" smtClean="0"/>
              <a:t> out en déportant les requêtes en Read-</a:t>
            </a:r>
            <a:r>
              <a:rPr lang="fr-FR" baseline="0" dirty="0" err="1" smtClean="0"/>
              <a:t>Only</a:t>
            </a:r>
            <a:r>
              <a:rPr lang="fr-FR" baseline="0" dirty="0" smtClean="0"/>
              <a:t> (</a:t>
            </a:r>
            <a:r>
              <a:rPr lang="fr-FR" baseline="0" dirty="0" err="1" smtClean="0"/>
              <a:t>reporting</a:t>
            </a:r>
            <a:r>
              <a:rPr lang="fr-FR" baseline="0" dirty="0" smtClean="0"/>
              <a:t>) sur d’autres nœud. Possibilité d’effectuer des backup sur les </a:t>
            </a:r>
            <a:r>
              <a:rPr lang="fr-FR" baseline="0" dirty="0" err="1" smtClean="0"/>
              <a:t>replicas</a:t>
            </a:r>
            <a:r>
              <a:rPr lang="fr-FR" baseline="0" dirty="0" smtClean="0"/>
              <a:t> secondaires.</a:t>
            </a:r>
          </a:p>
          <a:p>
            <a:endParaRPr lang="fr-FR" baseline="0" dirty="0" smtClean="0"/>
          </a:p>
          <a:p>
            <a:r>
              <a:rPr lang="fr-FR" baseline="0" dirty="0" smtClean="0"/>
              <a:t>In Memory : Pour l’OLTP. Données compressées en mémoire, écriture sur disque uniquement séquentielles, contrairement aux autres tables. Données sur disques comme pour les autres. Pas de </a:t>
            </a:r>
            <a:r>
              <a:rPr lang="fr-FR" baseline="0" dirty="0" err="1" smtClean="0"/>
              <a:t>pb</a:t>
            </a:r>
            <a:r>
              <a:rPr lang="fr-FR" baseline="0" dirty="0" smtClean="0"/>
              <a:t> avec HA. ACID. Pour les tables où il y a </a:t>
            </a:r>
            <a:r>
              <a:rPr lang="fr-FR" baseline="0" dirty="0" err="1" smtClean="0"/>
              <a:t>bcp</a:t>
            </a:r>
            <a:r>
              <a:rPr lang="fr-FR" baseline="0" dirty="0" smtClean="0"/>
              <a:t> de nb de transaction/s . Possibilité de compiler en code natif des procédures stockées qui attaquent ces tables =&gt; moins de CPU</a:t>
            </a:r>
          </a:p>
          <a:p>
            <a:endParaRPr lang="fr-FR" baseline="0" dirty="0" smtClean="0"/>
          </a:p>
          <a:p>
            <a:r>
              <a:rPr lang="fr-FR" dirty="0" smtClean="0"/>
              <a:t>Buffer Pool Extension :</a:t>
            </a:r>
            <a:r>
              <a:rPr lang="fr-FR" baseline="0" dirty="0" smtClean="0"/>
              <a:t> extension de la mémoire</a:t>
            </a:r>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6</a:t>
            </a:fld>
            <a:endParaRPr lang="fr-FR"/>
          </a:p>
        </p:txBody>
      </p:sp>
    </p:spTree>
    <p:extLst>
      <p:ext uri="{BB962C8B-B14F-4D97-AF65-F5344CB8AC3E}">
        <p14:creationId xmlns:p14="http://schemas.microsoft.com/office/powerpoint/2010/main" val="473981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Evolutions</a:t>
            </a:r>
            <a:r>
              <a:rPr lang="fr-FR" baseline="0" dirty="0" smtClean="0"/>
              <a:t> en terme d’exigence. Ce qui était autrefois réservé aux grandes entreprises s’est démocratisé aux PME : PRA/PCA, réplication géographique…</a:t>
            </a:r>
          </a:p>
          <a:p>
            <a:endParaRPr lang="fr-FR" baseline="0" dirty="0" smtClean="0"/>
          </a:p>
          <a:p>
            <a:r>
              <a:rPr lang="fr-FR" baseline="0" dirty="0" smtClean="0"/>
              <a:t>Futur (10 ans) : tout sur le </a:t>
            </a:r>
            <a:r>
              <a:rPr lang="fr-FR" baseline="0" dirty="0" err="1" smtClean="0"/>
              <a:t>cloud</a:t>
            </a:r>
            <a:r>
              <a:rPr lang="fr-FR" baseline="0" dirty="0" smtClean="0"/>
              <a:t> ?</a:t>
            </a:r>
          </a:p>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7</a:t>
            </a:fld>
            <a:endParaRPr lang="fr-FR"/>
          </a:p>
        </p:txBody>
      </p:sp>
    </p:spTree>
    <p:extLst>
      <p:ext uri="{BB962C8B-B14F-4D97-AF65-F5344CB8AC3E}">
        <p14:creationId xmlns:p14="http://schemas.microsoft.com/office/powerpoint/2010/main" val="28120220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Plus d’outils pour affiner les droits</a:t>
            </a:r>
          </a:p>
          <a:p>
            <a:r>
              <a:rPr lang="fr-FR" dirty="0" err="1" smtClean="0"/>
              <a:t>Compliance</a:t>
            </a:r>
            <a:r>
              <a:rPr lang="fr-FR" dirty="0" smtClean="0"/>
              <a:t> aux</a:t>
            </a:r>
            <a:r>
              <a:rPr lang="fr-FR" baseline="0" dirty="0" smtClean="0"/>
              <a:t> normes de sécurité, audits…</a:t>
            </a:r>
          </a:p>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8</a:t>
            </a:fld>
            <a:endParaRPr lang="fr-FR"/>
          </a:p>
        </p:txBody>
      </p:sp>
    </p:spTree>
    <p:extLst>
      <p:ext uri="{BB962C8B-B14F-4D97-AF65-F5344CB8AC3E}">
        <p14:creationId xmlns:p14="http://schemas.microsoft.com/office/powerpoint/2010/main" val="2685785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On passe d’une mono technologie technique à un agrégat de technologies techniques et fonctionnelles (BI, Master Data…). Le DBA doit pouvoir discuter</a:t>
            </a:r>
            <a:r>
              <a:rPr lang="fr-FR" baseline="0" dirty="0" smtClean="0"/>
              <a:t> avec ces interlocuteurs, et doit savoir installer ces briques de manière pertinente,</a:t>
            </a:r>
          </a:p>
          <a:p>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9</a:t>
            </a:fld>
            <a:endParaRPr lang="fr-FR"/>
          </a:p>
        </p:txBody>
      </p:sp>
    </p:spTree>
    <p:extLst>
      <p:ext uri="{BB962C8B-B14F-4D97-AF65-F5344CB8AC3E}">
        <p14:creationId xmlns:p14="http://schemas.microsoft.com/office/powerpoint/2010/main" val="36264579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Moins de </a:t>
            </a:r>
            <a:r>
              <a:rPr lang="fr-FR" dirty="0" err="1" smtClean="0"/>
              <a:t>prod</a:t>
            </a:r>
            <a:r>
              <a:rPr lang="fr-FR" dirty="0" smtClean="0"/>
              <a:t>, plus de briques, modèle et code de plus en plus </a:t>
            </a:r>
            <a:r>
              <a:rPr lang="fr-FR" dirty="0" smtClean="0"/>
              <a:t>importants. On passe d’un métier de soliste à un rôle de chef d’orchestre. </a:t>
            </a:r>
            <a:endParaRPr lang="fr-FR" dirty="0"/>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10</a:t>
            </a:fld>
            <a:endParaRPr lang="fr-FR"/>
          </a:p>
        </p:txBody>
      </p:sp>
    </p:spTree>
    <p:extLst>
      <p:ext uri="{BB962C8B-B14F-4D97-AF65-F5344CB8AC3E}">
        <p14:creationId xmlns:p14="http://schemas.microsoft.com/office/powerpoint/2010/main" val="14386598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Merci au GUSS pour l’organisation de </a:t>
            </a:r>
            <a:r>
              <a:rPr lang="fr-FR" smtClean="0"/>
              <a:t>cet</a:t>
            </a:r>
            <a:r>
              <a:rPr lang="fr-FR" baseline="0" smtClean="0"/>
              <a:t> événement.</a:t>
            </a:r>
            <a:endParaRPr lang="fr-FR"/>
          </a:p>
        </p:txBody>
      </p:sp>
      <p:sp>
        <p:nvSpPr>
          <p:cNvPr id="4" name="Espace réservé du numéro de diapositive 3"/>
          <p:cNvSpPr>
            <a:spLocks noGrp="1"/>
          </p:cNvSpPr>
          <p:nvPr>
            <p:ph type="sldNum" sz="quarter" idx="10"/>
          </p:nvPr>
        </p:nvSpPr>
        <p:spPr/>
        <p:txBody>
          <a:bodyPr/>
          <a:lstStyle/>
          <a:p>
            <a:fld id="{9363FCB2-F69B-4D43-BAB4-1FA35A60DB19}" type="slidenum">
              <a:rPr lang="fr-FR" smtClean="0"/>
              <a:t>12</a:t>
            </a:fld>
            <a:endParaRPr lang="fr-FR"/>
          </a:p>
        </p:txBody>
      </p:sp>
    </p:spTree>
    <p:extLst>
      <p:ext uri="{BB962C8B-B14F-4D97-AF65-F5344CB8AC3E}">
        <p14:creationId xmlns:p14="http://schemas.microsoft.com/office/powerpoint/2010/main" val="11197525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Header Blue">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800" b="0" cap="all">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lumMod val="75000"/>
                    <a:lumOff val="25000"/>
                  </a:schemeClr>
                </a:solidFill>
                <a:latin typeface="+mn-lt"/>
                <a:cs typeface="Segoe UI Light" panose="020B0502040204020203"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22243981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Blue">
    <p:bg>
      <p:bgPr>
        <a:solidFill>
          <a:srgbClr val="B9141A"/>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609600" y="275167"/>
            <a:ext cx="11247040" cy="657556"/>
          </a:xfrm>
        </p:spPr>
        <p:txBody>
          <a:bodyPr/>
          <a:lstStyle>
            <a:lvl1pPr algn="l">
              <a:defRPr sz="4800" b="0">
                <a:solidFill>
                  <a:schemeClr val="bg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20990811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Blue">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49387506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Blank Blue">
    <p:bg>
      <p:bgRef idx="1001">
        <a:schemeClr val="bg1"/>
      </p:bgRef>
    </p:bg>
    <p:spTree>
      <p:nvGrpSpPr>
        <p:cNvPr id="1" name=""/>
        <p:cNvGrpSpPr/>
        <p:nvPr/>
      </p:nvGrpSpPr>
      <p:grpSpPr>
        <a:xfrm>
          <a:off x="0" y="0"/>
          <a:ext cx="0" cy="0"/>
          <a:chOff x="0" y="0"/>
          <a:chExt cx="0" cy="0"/>
        </a:xfrm>
      </p:grpSpPr>
      <p:sp>
        <p:nvSpPr>
          <p:cNvPr id="2" name="TextBox 1"/>
          <p:cNvSpPr txBox="1"/>
          <p:nvPr userDrawn="1"/>
        </p:nvSpPr>
        <p:spPr>
          <a:xfrm>
            <a:off x="0" y="5885894"/>
            <a:ext cx="12192000" cy="972105"/>
          </a:xfrm>
          <a:prstGeom prst="rect">
            <a:avLst/>
          </a:prstGeom>
          <a:solidFill>
            <a:schemeClr val="bg1"/>
          </a:solidFill>
        </p:spPr>
        <p:txBody>
          <a:bodyPr wrap="square" rtlCol="0" anchor="b">
            <a:noAutofit/>
          </a:bodyPr>
          <a:lstStyle/>
          <a:p>
            <a:pPr algn="r"/>
            <a:r>
              <a:rPr lang="fr-FR" dirty="0" smtClean="0">
                <a:solidFill>
                  <a:srgbClr val="B9141A"/>
                </a:solidFill>
              </a:rPr>
              <a:t>#JSS2013</a:t>
            </a:r>
            <a:endParaRPr lang="fr-FR" dirty="0">
              <a:solidFill>
                <a:srgbClr val="B9141A"/>
              </a:solidFill>
            </a:endParaRPr>
          </a:p>
        </p:txBody>
      </p:sp>
    </p:spTree>
    <p:extLst>
      <p:ext uri="{BB962C8B-B14F-4D97-AF65-F5344CB8AC3E}">
        <p14:creationId xmlns:p14="http://schemas.microsoft.com/office/powerpoint/2010/main" val="29404622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Blue">
    <p:bg>
      <p:bgPr>
        <a:solidFill>
          <a:srgbClr val="B914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6411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Blue">
    <p:bg>
      <p:bgPr>
        <a:solidFill>
          <a:srgbClr val="B9141A"/>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35922"/>
          <a:stretch/>
        </p:blipFill>
        <p:spPr>
          <a:xfrm>
            <a:off x="7071357" y="3790765"/>
            <a:ext cx="5120643" cy="2734322"/>
          </a:xfrm>
          <a:prstGeom prst="rect">
            <a:avLst/>
          </a:prstGeom>
        </p:spPr>
      </p:pic>
      <p:sp>
        <p:nvSpPr>
          <p:cNvPr id="3" name="TextBox 2"/>
          <p:cNvSpPr txBox="1"/>
          <p:nvPr userDrawn="1"/>
        </p:nvSpPr>
        <p:spPr>
          <a:xfrm>
            <a:off x="257453" y="266328"/>
            <a:ext cx="7747442" cy="2154436"/>
          </a:xfrm>
          <a:prstGeom prst="rect">
            <a:avLst/>
          </a:prstGeom>
          <a:noFill/>
        </p:spPr>
        <p:txBody>
          <a:bodyPr wrap="none" rtlCol="0">
            <a:spAutoFit/>
          </a:bodyPr>
          <a:lstStyle/>
          <a:p>
            <a:r>
              <a:rPr lang="fr-FR" sz="5400" dirty="0" smtClean="0">
                <a:solidFill>
                  <a:schemeClr val="bg1"/>
                </a:solidFill>
                <a:latin typeface="+mn-lt"/>
              </a:rPr>
              <a:t>Les journées</a:t>
            </a:r>
          </a:p>
          <a:p>
            <a:r>
              <a:rPr lang="fr-FR" sz="8000" dirty="0" smtClean="0">
                <a:solidFill>
                  <a:schemeClr val="bg1"/>
                </a:solidFill>
                <a:latin typeface="+mn-lt"/>
              </a:rPr>
              <a:t>SQL</a:t>
            </a:r>
            <a:r>
              <a:rPr lang="fr-FR" sz="8000" baseline="0" dirty="0" smtClean="0">
                <a:solidFill>
                  <a:schemeClr val="bg1"/>
                </a:solidFill>
                <a:latin typeface="+mn-lt"/>
              </a:rPr>
              <a:t> Server 2013</a:t>
            </a:r>
            <a:r>
              <a:rPr lang="fr-FR" sz="3600" baseline="0" dirty="0" smtClean="0">
                <a:solidFill>
                  <a:schemeClr val="bg1"/>
                </a:solidFill>
                <a:latin typeface="+mn-lt"/>
              </a:rPr>
              <a:t> </a:t>
            </a:r>
            <a:endParaRPr lang="fr-FR" sz="8000" baseline="0" dirty="0" smtClean="0">
              <a:solidFill>
                <a:schemeClr val="bg1"/>
              </a:solidFill>
              <a:latin typeface="+mn-lt"/>
            </a:endParaRPr>
          </a:p>
        </p:txBody>
      </p:sp>
      <p:sp>
        <p:nvSpPr>
          <p:cNvPr id="5" name="TextBox 4"/>
          <p:cNvSpPr txBox="1"/>
          <p:nvPr userDrawn="1"/>
        </p:nvSpPr>
        <p:spPr>
          <a:xfrm>
            <a:off x="0" y="6525087"/>
            <a:ext cx="2863926" cy="307777"/>
          </a:xfrm>
          <a:prstGeom prst="rect">
            <a:avLst/>
          </a:prstGeom>
          <a:noFill/>
        </p:spPr>
        <p:txBody>
          <a:bodyPr wrap="none" rtlCol="0">
            <a:spAutoFit/>
          </a:bodyPr>
          <a:lstStyle/>
          <a:p>
            <a:r>
              <a:rPr lang="fr-FR" sz="1400" dirty="0" smtClean="0">
                <a:solidFill>
                  <a:schemeClr val="bg1"/>
                </a:solidFill>
              </a:rPr>
              <a:t>Un événement organisé</a:t>
            </a:r>
            <a:r>
              <a:rPr lang="fr-FR" sz="1400" baseline="0" dirty="0" smtClean="0">
                <a:solidFill>
                  <a:schemeClr val="bg1"/>
                </a:solidFill>
              </a:rPr>
              <a:t> par GUSS</a:t>
            </a:r>
            <a:endParaRPr lang="fr-FR" sz="1400" dirty="0">
              <a:solidFill>
                <a:schemeClr val="bg1"/>
              </a:solidFill>
            </a:endParaRPr>
          </a:p>
        </p:txBody>
      </p:sp>
    </p:spTree>
    <p:extLst>
      <p:ext uri="{BB962C8B-B14F-4D97-AF65-F5344CB8AC3E}">
        <p14:creationId xmlns:p14="http://schemas.microsoft.com/office/powerpoint/2010/main" val="151744947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Blank Blue">
    <p:bg>
      <p:bgPr>
        <a:solidFill>
          <a:srgbClr val="B9141A"/>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35922"/>
          <a:stretch/>
        </p:blipFill>
        <p:spPr>
          <a:xfrm>
            <a:off x="7071357" y="3790765"/>
            <a:ext cx="5120643" cy="2734322"/>
          </a:xfrm>
          <a:prstGeom prst="rect">
            <a:avLst/>
          </a:prstGeom>
        </p:spPr>
      </p:pic>
      <p:sp>
        <p:nvSpPr>
          <p:cNvPr id="3" name="TextBox 2"/>
          <p:cNvSpPr txBox="1"/>
          <p:nvPr userDrawn="1"/>
        </p:nvSpPr>
        <p:spPr>
          <a:xfrm>
            <a:off x="257453" y="266328"/>
            <a:ext cx="3959610" cy="1077218"/>
          </a:xfrm>
          <a:prstGeom prst="rect">
            <a:avLst/>
          </a:prstGeom>
          <a:noFill/>
        </p:spPr>
        <p:txBody>
          <a:bodyPr wrap="none" rtlCol="0">
            <a:spAutoFit/>
          </a:bodyPr>
          <a:lstStyle/>
          <a:p>
            <a:r>
              <a:rPr lang="fr-FR" sz="2400" dirty="0" smtClean="0">
                <a:solidFill>
                  <a:schemeClr val="bg1"/>
                </a:solidFill>
                <a:latin typeface="+mn-lt"/>
              </a:rPr>
              <a:t>Les journées</a:t>
            </a:r>
          </a:p>
          <a:p>
            <a:r>
              <a:rPr lang="fr-FR" sz="4000" dirty="0" smtClean="0">
                <a:solidFill>
                  <a:schemeClr val="bg1"/>
                </a:solidFill>
                <a:latin typeface="+mn-lt"/>
              </a:rPr>
              <a:t>SQL</a:t>
            </a:r>
            <a:r>
              <a:rPr lang="fr-FR" sz="4000" baseline="0" dirty="0" smtClean="0">
                <a:solidFill>
                  <a:schemeClr val="bg1"/>
                </a:solidFill>
                <a:latin typeface="+mn-lt"/>
              </a:rPr>
              <a:t> Server 2013</a:t>
            </a:r>
            <a:r>
              <a:rPr lang="fr-FR" sz="1400" baseline="0" dirty="0" smtClean="0">
                <a:solidFill>
                  <a:schemeClr val="bg1"/>
                </a:solidFill>
                <a:latin typeface="+mn-lt"/>
              </a:rPr>
              <a:t> </a:t>
            </a:r>
            <a:endParaRPr lang="fr-FR" sz="4000" baseline="0" dirty="0" smtClean="0">
              <a:solidFill>
                <a:schemeClr val="bg1"/>
              </a:solidFill>
              <a:latin typeface="+mn-lt"/>
            </a:endParaRPr>
          </a:p>
        </p:txBody>
      </p:sp>
      <p:sp>
        <p:nvSpPr>
          <p:cNvPr id="5" name="TextBox 4"/>
          <p:cNvSpPr txBox="1"/>
          <p:nvPr userDrawn="1"/>
        </p:nvSpPr>
        <p:spPr>
          <a:xfrm>
            <a:off x="0" y="6525087"/>
            <a:ext cx="2863926" cy="307777"/>
          </a:xfrm>
          <a:prstGeom prst="rect">
            <a:avLst/>
          </a:prstGeom>
          <a:noFill/>
        </p:spPr>
        <p:txBody>
          <a:bodyPr wrap="none" rtlCol="0">
            <a:spAutoFit/>
          </a:bodyPr>
          <a:lstStyle/>
          <a:p>
            <a:r>
              <a:rPr lang="fr-FR" sz="1400" dirty="0" smtClean="0">
                <a:solidFill>
                  <a:schemeClr val="bg1"/>
                </a:solidFill>
              </a:rPr>
              <a:t>Un événement organisé</a:t>
            </a:r>
            <a:r>
              <a:rPr lang="fr-FR" sz="1400" baseline="0" dirty="0" smtClean="0">
                <a:solidFill>
                  <a:schemeClr val="bg1"/>
                </a:solidFill>
              </a:rPr>
              <a:t> par GUSS</a:t>
            </a:r>
            <a:endParaRPr lang="fr-FR" sz="1400" dirty="0">
              <a:solidFill>
                <a:schemeClr val="bg1"/>
              </a:solidFill>
            </a:endParaRPr>
          </a:p>
        </p:txBody>
      </p:sp>
    </p:spTree>
    <p:extLst>
      <p:ext uri="{BB962C8B-B14F-4D97-AF65-F5344CB8AC3E}">
        <p14:creationId xmlns:p14="http://schemas.microsoft.com/office/powerpoint/2010/main" val="234605518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Header Blu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1"/>
            <a:ext cx="9261375" cy="1362075"/>
          </a:xfrm>
        </p:spPr>
        <p:txBody>
          <a:bodyPr anchor="t"/>
          <a:lstStyle>
            <a:lvl1pPr algn="l">
              <a:defRPr sz="4800" b="0" cap="all">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Text Placeholder 2"/>
          <p:cNvSpPr>
            <a:spLocks noGrp="1"/>
          </p:cNvSpPr>
          <p:nvPr>
            <p:ph type="body" idx="1"/>
          </p:nvPr>
        </p:nvSpPr>
        <p:spPr>
          <a:xfrm>
            <a:off x="963085" y="2906713"/>
            <a:ext cx="9261375" cy="1500187"/>
          </a:xfrm>
        </p:spPr>
        <p:txBody>
          <a:bodyPr anchor="b"/>
          <a:lstStyle>
            <a:lvl1pPr marL="0" indent="0">
              <a:buNone/>
              <a:defRPr sz="2667">
                <a:solidFill>
                  <a:schemeClr val="tx1">
                    <a:lumMod val="75000"/>
                    <a:lumOff val="25000"/>
                  </a:schemeClr>
                </a:solidFill>
                <a:latin typeface="+mn-lt"/>
                <a:cs typeface="Segoe UI Light" panose="020B0502040204020203"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6" name="TextBox 5"/>
          <p:cNvSpPr txBox="1"/>
          <p:nvPr userDrawn="1"/>
        </p:nvSpPr>
        <p:spPr>
          <a:xfrm>
            <a:off x="-240704" y="-987491"/>
            <a:ext cx="10002738" cy="4903778"/>
          </a:xfrm>
          <a:prstGeom prst="rect">
            <a:avLst/>
          </a:prstGeom>
          <a:noFill/>
        </p:spPr>
        <p:txBody>
          <a:bodyPr wrap="none" lIns="0" tIns="0" rIns="0" bIns="0" rtlCol="0">
            <a:spAutoFit/>
          </a:bodyPr>
          <a:lstStyle/>
          <a:p>
            <a:pPr eaLnBrk="0" fontAlgn="base" hangingPunct="0">
              <a:spcBef>
                <a:spcPct val="0"/>
              </a:spcBef>
              <a:spcAft>
                <a:spcPct val="0"/>
              </a:spcAft>
            </a:pPr>
            <a:r>
              <a:rPr lang="en-US" sz="31866" dirty="0">
                <a:solidFill>
                  <a:srgbClr val="B9141A"/>
                </a:solidFill>
                <a:latin typeface="Segoe UI Light"/>
                <a:cs typeface="Arial" panose="020B0604020202020204" pitchFamily="34" charset="0"/>
              </a:rPr>
              <a:t>demo</a:t>
            </a:r>
            <a:endParaRPr lang="en-US" sz="45866" dirty="0">
              <a:solidFill>
                <a:srgbClr val="B9141A"/>
              </a:solidFill>
              <a:latin typeface="Segoe UI Light"/>
              <a:cs typeface="Arial" panose="020B0604020202020204" pitchFamily="34" charset="0"/>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244085957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Blue">
    <p:bg>
      <p:bgRef idx="1001">
        <a:schemeClr val="bg1"/>
      </p:bgRef>
    </p:bg>
    <p:spTree>
      <p:nvGrpSpPr>
        <p:cNvPr id="1" name=""/>
        <p:cNvGrpSpPr/>
        <p:nvPr/>
      </p:nvGrpSpPr>
      <p:grpSpPr>
        <a:xfrm>
          <a:off x="0" y="0"/>
          <a:ext cx="0" cy="0"/>
          <a:chOff x="0" y="0"/>
          <a:chExt cx="0" cy="0"/>
        </a:xfrm>
      </p:grpSpPr>
      <p:sp>
        <p:nvSpPr>
          <p:cNvPr id="14" name="Content Placeholder 2"/>
          <p:cNvSpPr>
            <a:spLocks noGrp="1"/>
          </p:cNvSpPr>
          <p:nvPr>
            <p:ph idx="13"/>
          </p:nvPr>
        </p:nvSpPr>
        <p:spPr>
          <a:xfrm>
            <a:off x="609600" y="1124745"/>
            <a:ext cx="11176000" cy="5204089"/>
          </a:xfrm>
        </p:spPr>
        <p:txBody>
          <a:bodyPr>
            <a:normAutofit/>
          </a:bodyPr>
          <a:lstStyle>
            <a:lvl1pPr>
              <a:defRPr>
                <a:solidFill>
                  <a:schemeClr val="tx1">
                    <a:lumMod val="75000"/>
                    <a:lumOff val="25000"/>
                  </a:schemeClr>
                </a:solidFill>
                <a:latin typeface="+mn-lt"/>
                <a:cs typeface="Segoe UI Light" panose="020B0502040204020203" pitchFamily="34" charset="0"/>
              </a:defRPr>
            </a:lvl1pPr>
            <a:lvl2pPr>
              <a:defRPr sz="3200">
                <a:solidFill>
                  <a:schemeClr val="tx1">
                    <a:lumMod val="75000"/>
                    <a:lumOff val="25000"/>
                  </a:schemeClr>
                </a:solidFill>
                <a:latin typeface="+mn-lt"/>
                <a:cs typeface="Segoe UI" panose="020B0502040204020203" pitchFamily="34" charset="0"/>
              </a:defRPr>
            </a:lvl2pPr>
            <a:lvl3pPr>
              <a:defRPr>
                <a:solidFill>
                  <a:schemeClr val="tx1">
                    <a:lumMod val="75000"/>
                    <a:lumOff val="25000"/>
                  </a:schemeClr>
                </a:solidFill>
                <a:latin typeface="+mn-lt"/>
                <a:cs typeface="Segoe UI" panose="020B0502040204020203" pitchFamily="34" charset="0"/>
              </a:defRPr>
            </a:lvl3pPr>
            <a:lvl4pPr>
              <a:defRPr>
                <a:solidFill>
                  <a:schemeClr val="tx1">
                    <a:lumMod val="75000"/>
                    <a:lumOff val="25000"/>
                  </a:schemeClr>
                </a:solidFill>
                <a:latin typeface="+mn-lt"/>
                <a:cs typeface="Segoe UI" panose="020B0502040204020203" pitchFamily="34" charset="0"/>
              </a:defRPr>
            </a:lvl4pPr>
            <a:lvl5pPr>
              <a:defRPr>
                <a:solidFill>
                  <a:schemeClr val="tx1">
                    <a:lumMod val="75000"/>
                    <a:lumOff val="25000"/>
                  </a:schemeClr>
                </a:solidFill>
                <a:latin typeface="+mn-lt"/>
                <a:cs typeface="Segoe UI" panose="020B0502040204020203" pitchFamily="34" charset="0"/>
              </a:defRPr>
            </a:lvl5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15" name="Title 1"/>
          <p:cNvSpPr>
            <a:spLocks noGrp="1"/>
          </p:cNvSpPr>
          <p:nvPr>
            <p:ph type="title"/>
          </p:nvPr>
        </p:nvSpPr>
        <p:spPr>
          <a:xfrm>
            <a:off x="609600" y="275167"/>
            <a:ext cx="11151029" cy="657556"/>
          </a:xfrm>
        </p:spPr>
        <p:txBody>
          <a:bodyPr/>
          <a:lstStyle>
            <a:lvl1pPr algn="l">
              <a:defRPr sz="4800" b="0">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38566712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Blue">
    <p:bg>
      <p:bgPr>
        <a:solidFill>
          <a:srgbClr val="B9141A"/>
        </a:solidFill>
        <a:effectLst/>
      </p:bgPr>
    </p:bg>
    <p:spTree>
      <p:nvGrpSpPr>
        <p:cNvPr id="1" name=""/>
        <p:cNvGrpSpPr/>
        <p:nvPr/>
      </p:nvGrpSpPr>
      <p:grpSpPr>
        <a:xfrm>
          <a:off x="0" y="0"/>
          <a:ext cx="0" cy="0"/>
          <a:chOff x="0" y="0"/>
          <a:chExt cx="0" cy="0"/>
        </a:xfrm>
      </p:grpSpPr>
      <p:sp>
        <p:nvSpPr>
          <p:cNvPr id="14" name="Content Placeholder 2"/>
          <p:cNvSpPr>
            <a:spLocks noGrp="1"/>
          </p:cNvSpPr>
          <p:nvPr>
            <p:ph idx="13"/>
          </p:nvPr>
        </p:nvSpPr>
        <p:spPr>
          <a:xfrm>
            <a:off x="609600" y="1124745"/>
            <a:ext cx="11176000" cy="5204089"/>
          </a:xfrm>
        </p:spPr>
        <p:txBody>
          <a:bodyPr>
            <a:normAutofit/>
          </a:bodyPr>
          <a:lstStyle>
            <a:lvl1pPr>
              <a:defRPr>
                <a:solidFill>
                  <a:schemeClr val="bg1"/>
                </a:solidFill>
                <a:latin typeface="+mn-lt"/>
                <a:cs typeface="Segoe UI Light" panose="020B0502040204020203" pitchFamily="34" charset="0"/>
              </a:defRPr>
            </a:lvl1pPr>
            <a:lvl2pPr>
              <a:defRPr sz="3200">
                <a:solidFill>
                  <a:schemeClr val="bg1"/>
                </a:solidFill>
                <a:latin typeface="+mn-lt"/>
                <a:cs typeface="Segoe UI" panose="020B0502040204020203" pitchFamily="34" charset="0"/>
              </a:defRPr>
            </a:lvl2pPr>
            <a:lvl3pPr>
              <a:defRPr>
                <a:solidFill>
                  <a:schemeClr val="bg1"/>
                </a:solidFill>
                <a:latin typeface="+mn-lt"/>
                <a:cs typeface="Segoe UI" panose="020B0502040204020203" pitchFamily="34" charset="0"/>
              </a:defRPr>
            </a:lvl3pPr>
            <a:lvl4pPr>
              <a:defRPr>
                <a:solidFill>
                  <a:schemeClr val="bg1"/>
                </a:solidFill>
                <a:latin typeface="+mn-lt"/>
                <a:cs typeface="Segoe UI" panose="020B0502040204020203" pitchFamily="34" charset="0"/>
              </a:defRPr>
            </a:lvl4pPr>
            <a:lvl5pPr>
              <a:defRPr>
                <a:solidFill>
                  <a:schemeClr val="bg1"/>
                </a:solidFill>
                <a:latin typeface="+mn-lt"/>
                <a:cs typeface="Segoe UI" panose="020B0502040204020203" pitchFamily="34" charset="0"/>
              </a:defRPr>
            </a:lvl5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15" name="Title 1"/>
          <p:cNvSpPr>
            <a:spLocks noGrp="1"/>
          </p:cNvSpPr>
          <p:nvPr>
            <p:ph type="title"/>
          </p:nvPr>
        </p:nvSpPr>
        <p:spPr>
          <a:xfrm>
            <a:off x="609600" y="275167"/>
            <a:ext cx="11151029" cy="657556"/>
          </a:xfrm>
        </p:spPr>
        <p:txBody>
          <a:bodyPr/>
          <a:lstStyle>
            <a:lvl1pPr algn="l">
              <a:defRPr sz="4800" b="0">
                <a:solidFill>
                  <a:schemeClr val="bg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21214485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Graph">
    <p:bg>
      <p:bgRef idx="1001">
        <a:schemeClr val="bg1"/>
      </p:bgRef>
    </p:bg>
    <p:spTree>
      <p:nvGrpSpPr>
        <p:cNvPr id="1" name=""/>
        <p:cNvGrpSpPr/>
        <p:nvPr/>
      </p:nvGrpSpPr>
      <p:grpSpPr>
        <a:xfrm>
          <a:off x="0" y="0"/>
          <a:ext cx="0" cy="0"/>
          <a:chOff x="0" y="0"/>
          <a:chExt cx="0" cy="0"/>
        </a:xfrm>
      </p:grpSpPr>
      <p:sp>
        <p:nvSpPr>
          <p:cNvPr id="14" name="Content Placeholder 2"/>
          <p:cNvSpPr>
            <a:spLocks noGrp="1"/>
          </p:cNvSpPr>
          <p:nvPr>
            <p:ph idx="13"/>
          </p:nvPr>
        </p:nvSpPr>
        <p:spPr>
          <a:xfrm>
            <a:off x="9840416" y="1124745"/>
            <a:ext cx="1945184" cy="4992555"/>
          </a:xfrm>
        </p:spPr>
        <p:txBody>
          <a:bodyPr>
            <a:normAutofit/>
          </a:bodyPr>
          <a:lstStyle>
            <a:lvl1pPr>
              <a:defRPr sz="2400">
                <a:solidFill>
                  <a:schemeClr val="tx1">
                    <a:lumMod val="75000"/>
                    <a:lumOff val="25000"/>
                  </a:schemeClr>
                </a:solidFill>
                <a:latin typeface="+mn-lt"/>
                <a:cs typeface="Segoe UI Light" panose="020B0502040204020203" pitchFamily="34" charset="0"/>
              </a:defRPr>
            </a:lvl1pPr>
            <a:lvl2pPr>
              <a:defRPr>
                <a:solidFill>
                  <a:srgbClr val="4F81BD"/>
                </a:solidFill>
                <a:latin typeface="Segoe UI Light" panose="020B0502040204020203" pitchFamily="34" charset="0"/>
                <a:cs typeface="Segoe UI Light" panose="020B0502040204020203" pitchFamily="34" charset="0"/>
              </a:defRPr>
            </a:lvl2pPr>
            <a:lvl3pPr>
              <a:defRPr>
                <a:solidFill>
                  <a:srgbClr val="4F81BD"/>
                </a:solidFill>
                <a:latin typeface="Segoe UI Light" panose="020B0502040204020203" pitchFamily="34" charset="0"/>
                <a:cs typeface="Segoe UI Light" panose="020B0502040204020203" pitchFamily="34" charset="0"/>
              </a:defRPr>
            </a:lvl3pPr>
            <a:lvl4pPr>
              <a:defRPr>
                <a:solidFill>
                  <a:srgbClr val="4F81BD"/>
                </a:solidFill>
                <a:latin typeface="Segoe UI Light" panose="020B0502040204020203" pitchFamily="34" charset="0"/>
                <a:cs typeface="Segoe UI Light" panose="020B0502040204020203" pitchFamily="34" charset="0"/>
              </a:defRPr>
            </a:lvl4pPr>
            <a:lvl5pPr>
              <a:defRPr>
                <a:solidFill>
                  <a:srgbClr val="4F81BD"/>
                </a:solidFill>
                <a:latin typeface="Segoe UI Light" panose="020B0502040204020203" pitchFamily="34" charset="0"/>
                <a:cs typeface="Segoe UI Light" panose="020B0502040204020203" pitchFamily="34" charset="0"/>
              </a:defRPr>
            </a:lvl5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15" name="Title 1"/>
          <p:cNvSpPr>
            <a:spLocks noGrp="1"/>
          </p:cNvSpPr>
          <p:nvPr>
            <p:ph type="title"/>
          </p:nvPr>
        </p:nvSpPr>
        <p:spPr>
          <a:xfrm>
            <a:off x="609600" y="275167"/>
            <a:ext cx="11151029" cy="657556"/>
          </a:xfrm>
        </p:spPr>
        <p:txBody>
          <a:bodyPr/>
          <a:lstStyle>
            <a:lvl1pPr algn="l">
              <a:defRPr sz="4800" b="0">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6" name="Content Placeholder 2"/>
          <p:cNvSpPr>
            <a:spLocks noGrp="1"/>
          </p:cNvSpPr>
          <p:nvPr>
            <p:ph idx="14"/>
          </p:nvPr>
        </p:nvSpPr>
        <p:spPr>
          <a:xfrm>
            <a:off x="609600" y="1124745"/>
            <a:ext cx="8955269" cy="4992555"/>
          </a:xfrm>
        </p:spPr>
        <p:txBody>
          <a:bodyPr>
            <a:normAutofit/>
          </a:bodyPr>
          <a:lstStyle>
            <a:lvl1pPr>
              <a:defRPr sz="3200">
                <a:solidFill>
                  <a:schemeClr val="tx1">
                    <a:lumMod val="75000"/>
                    <a:lumOff val="25000"/>
                  </a:schemeClr>
                </a:solidFill>
                <a:latin typeface="+mn-lt"/>
                <a:cs typeface="Segoe UI Light" panose="020B0502040204020203" pitchFamily="34" charset="0"/>
              </a:defRPr>
            </a:lvl1pPr>
            <a:lvl2pPr>
              <a:defRPr>
                <a:solidFill>
                  <a:srgbClr val="4F81BD"/>
                </a:solidFill>
                <a:latin typeface="Segoe UI Light" panose="020B0502040204020203" pitchFamily="34" charset="0"/>
                <a:cs typeface="Segoe UI Light" panose="020B0502040204020203" pitchFamily="34" charset="0"/>
              </a:defRPr>
            </a:lvl2pPr>
            <a:lvl3pPr>
              <a:defRPr>
                <a:solidFill>
                  <a:srgbClr val="4F81BD"/>
                </a:solidFill>
                <a:latin typeface="Segoe UI Light" panose="020B0502040204020203" pitchFamily="34" charset="0"/>
                <a:cs typeface="Segoe UI Light" panose="020B0502040204020203" pitchFamily="34" charset="0"/>
              </a:defRPr>
            </a:lvl3pPr>
            <a:lvl4pPr>
              <a:defRPr>
                <a:solidFill>
                  <a:srgbClr val="4F81BD"/>
                </a:solidFill>
                <a:latin typeface="Segoe UI Light" panose="020B0502040204020203" pitchFamily="34" charset="0"/>
                <a:cs typeface="Segoe UI Light" panose="020B0502040204020203" pitchFamily="34" charset="0"/>
              </a:defRPr>
            </a:lvl4pPr>
            <a:lvl5pPr>
              <a:defRPr>
                <a:solidFill>
                  <a:srgbClr val="4F81BD"/>
                </a:solidFill>
                <a:latin typeface="Segoe UI Light" panose="020B0502040204020203" pitchFamily="34" charset="0"/>
                <a:cs typeface="Segoe UI Light" panose="020B0502040204020203" pitchFamily="34" charset="0"/>
              </a:defRPr>
            </a:lvl5pPr>
          </a:lstStyle>
          <a:p>
            <a:pPr lvl="0"/>
            <a:endParaRPr lang="fr-FR" noProof="0" dirty="0" smtClean="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36201725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Blue">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200151"/>
            <a:ext cx="5384800" cy="4917147"/>
          </a:xfrm>
        </p:spPr>
        <p:txBody>
          <a:bodyPr>
            <a:normAutofit/>
          </a:bodyPr>
          <a:lstStyle>
            <a:lvl1pPr>
              <a:defRPr sz="2667">
                <a:solidFill>
                  <a:schemeClr val="tx1">
                    <a:lumMod val="75000"/>
                    <a:lumOff val="25000"/>
                  </a:schemeClr>
                </a:solidFill>
                <a:latin typeface="+mn-lt"/>
                <a:cs typeface="Segoe UI Light" panose="020B0502040204020203" pitchFamily="34" charset="0"/>
              </a:defRPr>
            </a:lvl1pPr>
            <a:lvl2pPr>
              <a:defRPr sz="2667">
                <a:solidFill>
                  <a:schemeClr val="tx1">
                    <a:lumMod val="75000"/>
                    <a:lumOff val="25000"/>
                  </a:schemeClr>
                </a:solidFill>
                <a:latin typeface="+mn-lt"/>
                <a:cs typeface="Segoe UI Light" panose="020B0502040204020203" pitchFamily="34" charset="0"/>
              </a:defRPr>
            </a:lvl2pPr>
            <a:lvl3pPr>
              <a:defRPr sz="2400">
                <a:solidFill>
                  <a:schemeClr val="tx1">
                    <a:lumMod val="75000"/>
                    <a:lumOff val="25000"/>
                  </a:schemeClr>
                </a:solidFill>
                <a:latin typeface="+mn-lt"/>
                <a:cs typeface="Segoe UI Light" panose="020B0502040204020203" pitchFamily="34" charset="0"/>
              </a:defRPr>
            </a:lvl3pPr>
            <a:lvl4pPr>
              <a:defRPr sz="2400">
                <a:solidFill>
                  <a:schemeClr val="tx1">
                    <a:lumMod val="75000"/>
                    <a:lumOff val="25000"/>
                  </a:schemeClr>
                </a:solidFill>
                <a:latin typeface="+mn-lt"/>
                <a:cs typeface="Segoe UI Light" panose="020B0502040204020203" pitchFamily="34" charset="0"/>
              </a:defRPr>
            </a:lvl4pPr>
            <a:lvl5pPr>
              <a:defRPr sz="2133">
                <a:solidFill>
                  <a:schemeClr val="tx1">
                    <a:lumMod val="75000"/>
                    <a:lumOff val="25000"/>
                  </a:schemeClr>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4" name="Content Placeholder 3"/>
          <p:cNvSpPr>
            <a:spLocks noGrp="1"/>
          </p:cNvSpPr>
          <p:nvPr>
            <p:ph sz="half" idx="2"/>
          </p:nvPr>
        </p:nvSpPr>
        <p:spPr>
          <a:xfrm>
            <a:off x="6197600" y="1200150"/>
            <a:ext cx="5384800" cy="4917148"/>
          </a:xfrm>
        </p:spPr>
        <p:txBody>
          <a:bodyPr>
            <a:normAutofit/>
          </a:bodyPr>
          <a:lstStyle>
            <a:lvl1pPr>
              <a:defRPr sz="2667">
                <a:solidFill>
                  <a:schemeClr val="tx1">
                    <a:lumMod val="75000"/>
                    <a:lumOff val="25000"/>
                  </a:schemeClr>
                </a:solidFill>
                <a:latin typeface="+mn-lt"/>
                <a:cs typeface="Segoe UI Light" panose="020B0502040204020203" pitchFamily="34" charset="0"/>
              </a:defRPr>
            </a:lvl1pPr>
            <a:lvl2pPr>
              <a:defRPr sz="2667">
                <a:solidFill>
                  <a:schemeClr val="tx1">
                    <a:lumMod val="75000"/>
                    <a:lumOff val="25000"/>
                  </a:schemeClr>
                </a:solidFill>
                <a:latin typeface="+mn-lt"/>
                <a:cs typeface="Segoe UI Light" panose="020B0502040204020203" pitchFamily="34" charset="0"/>
              </a:defRPr>
            </a:lvl2pPr>
            <a:lvl3pPr>
              <a:defRPr sz="2400">
                <a:solidFill>
                  <a:schemeClr val="tx1">
                    <a:lumMod val="75000"/>
                    <a:lumOff val="25000"/>
                  </a:schemeClr>
                </a:solidFill>
                <a:latin typeface="+mn-lt"/>
                <a:cs typeface="Segoe UI Light" panose="020B0502040204020203" pitchFamily="34" charset="0"/>
              </a:defRPr>
            </a:lvl3pPr>
            <a:lvl4pPr>
              <a:defRPr sz="2400">
                <a:solidFill>
                  <a:schemeClr val="tx1">
                    <a:lumMod val="75000"/>
                    <a:lumOff val="25000"/>
                  </a:schemeClr>
                </a:solidFill>
                <a:latin typeface="+mn-lt"/>
                <a:cs typeface="Segoe UI Light" panose="020B0502040204020203" pitchFamily="34" charset="0"/>
              </a:defRPr>
            </a:lvl4pPr>
            <a:lvl5pPr>
              <a:defRPr sz="2133">
                <a:solidFill>
                  <a:schemeClr val="tx1">
                    <a:lumMod val="75000"/>
                    <a:lumOff val="25000"/>
                  </a:schemeClr>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8" name="Title 1"/>
          <p:cNvSpPr>
            <a:spLocks noGrp="1"/>
          </p:cNvSpPr>
          <p:nvPr>
            <p:ph type="title"/>
          </p:nvPr>
        </p:nvSpPr>
        <p:spPr>
          <a:xfrm>
            <a:off x="609600" y="275167"/>
            <a:ext cx="10959008" cy="657556"/>
          </a:xfrm>
        </p:spPr>
        <p:txBody>
          <a:bodyPr/>
          <a:lstStyle>
            <a:lvl1pPr algn="l">
              <a:defRPr sz="4800" b="0">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23916232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Blue">
    <p:bg>
      <p:bgPr>
        <a:solidFill>
          <a:srgbClr val="B9141A"/>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200151"/>
            <a:ext cx="5384800" cy="4917147"/>
          </a:xfrm>
        </p:spPr>
        <p:txBody>
          <a:bodyPr>
            <a:normAutofit/>
          </a:bodyPr>
          <a:lstStyle>
            <a:lvl1pPr>
              <a:defRPr sz="2667">
                <a:solidFill>
                  <a:schemeClr val="bg1"/>
                </a:solidFill>
                <a:latin typeface="+mn-lt"/>
                <a:cs typeface="Segoe UI Light" panose="020B0502040204020203" pitchFamily="34" charset="0"/>
              </a:defRPr>
            </a:lvl1pPr>
            <a:lvl2pPr>
              <a:defRPr sz="2667">
                <a:solidFill>
                  <a:schemeClr val="bg1"/>
                </a:solidFill>
                <a:latin typeface="+mn-lt"/>
                <a:cs typeface="Segoe UI Light" panose="020B0502040204020203" pitchFamily="34" charset="0"/>
              </a:defRPr>
            </a:lvl2pPr>
            <a:lvl3pPr>
              <a:defRPr sz="2400">
                <a:solidFill>
                  <a:schemeClr val="bg1"/>
                </a:solidFill>
                <a:latin typeface="+mn-lt"/>
                <a:cs typeface="Segoe UI Light" panose="020B0502040204020203" pitchFamily="34" charset="0"/>
              </a:defRPr>
            </a:lvl3pPr>
            <a:lvl4pPr>
              <a:defRPr sz="2400">
                <a:solidFill>
                  <a:schemeClr val="bg1"/>
                </a:solidFill>
                <a:latin typeface="+mn-lt"/>
                <a:cs typeface="Segoe UI Light" panose="020B0502040204020203" pitchFamily="34" charset="0"/>
              </a:defRPr>
            </a:lvl4pPr>
            <a:lvl5pPr>
              <a:defRPr sz="2133">
                <a:solidFill>
                  <a:schemeClr val="bg1"/>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4" name="Content Placeholder 3"/>
          <p:cNvSpPr>
            <a:spLocks noGrp="1"/>
          </p:cNvSpPr>
          <p:nvPr>
            <p:ph sz="half" idx="2"/>
          </p:nvPr>
        </p:nvSpPr>
        <p:spPr>
          <a:xfrm>
            <a:off x="6197600" y="1200150"/>
            <a:ext cx="5384800" cy="4917148"/>
          </a:xfrm>
        </p:spPr>
        <p:txBody>
          <a:bodyPr>
            <a:normAutofit/>
          </a:bodyPr>
          <a:lstStyle>
            <a:lvl1pPr>
              <a:defRPr sz="2667">
                <a:solidFill>
                  <a:schemeClr val="bg1"/>
                </a:solidFill>
                <a:latin typeface="+mn-lt"/>
                <a:cs typeface="Segoe UI Light" panose="020B0502040204020203" pitchFamily="34" charset="0"/>
              </a:defRPr>
            </a:lvl1pPr>
            <a:lvl2pPr>
              <a:defRPr sz="2667">
                <a:solidFill>
                  <a:schemeClr val="bg1"/>
                </a:solidFill>
                <a:latin typeface="+mn-lt"/>
                <a:cs typeface="Segoe UI Light" panose="020B0502040204020203" pitchFamily="34" charset="0"/>
              </a:defRPr>
            </a:lvl2pPr>
            <a:lvl3pPr>
              <a:defRPr sz="2400">
                <a:solidFill>
                  <a:schemeClr val="bg1"/>
                </a:solidFill>
                <a:latin typeface="+mn-lt"/>
                <a:cs typeface="Segoe UI Light" panose="020B0502040204020203" pitchFamily="34" charset="0"/>
              </a:defRPr>
            </a:lvl3pPr>
            <a:lvl4pPr>
              <a:defRPr sz="2400">
                <a:solidFill>
                  <a:schemeClr val="bg1"/>
                </a:solidFill>
                <a:latin typeface="+mn-lt"/>
                <a:cs typeface="Segoe UI Light" panose="020B0502040204020203" pitchFamily="34" charset="0"/>
              </a:defRPr>
            </a:lvl4pPr>
            <a:lvl5pPr>
              <a:defRPr sz="2133">
                <a:solidFill>
                  <a:schemeClr val="bg1"/>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8" name="Title 1"/>
          <p:cNvSpPr>
            <a:spLocks noGrp="1"/>
          </p:cNvSpPr>
          <p:nvPr>
            <p:ph type="title"/>
          </p:nvPr>
        </p:nvSpPr>
        <p:spPr>
          <a:xfrm>
            <a:off x="609600" y="275167"/>
            <a:ext cx="10959008" cy="657556"/>
          </a:xfrm>
        </p:spPr>
        <p:txBody>
          <a:bodyPr/>
          <a:lstStyle>
            <a:lvl1pPr algn="l">
              <a:defRPr sz="4800" b="0">
                <a:solidFill>
                  <a:schemeClr val="bg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262728514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BLue">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124744"/>
            <a:ext cx="5386917" cy="639761"/>
          </a:xfrm>
        </p:spPr>
        <p:txBody>
          <a:bodyPr anchor="b"/>
          <a:lstStyle>
            <a:lvl1pPr marL="0" indent="0">
              <a:buNone/>
              <a:defRPr sz="2667" b="0">
                <a:solidFill>
                  <a:schemeClr val="tx1">
                    <a:lumMod val="75000"/>
                    <a:lumOff val="25000"/>
                  </a:schemeClr>
                </a:solidFill>
                <a:latin typeface="+mn-lt"/>
                <a:cs typeface="Segoe UI Light" panose="020B0502040204020203"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4" name="Content Placeholder 3"/>
          <p:cNvSpPr>
            <a:spLocks noGrp="1"/>
          </p:cNvSpPr>
          <p:nvPr>
            <p:ph sz="half" idx="2"/>
          </p:nvPr>
        </p:nvSpPr>
        <p:spPr>
          <a:xfrm>
            <a:off x="609600" y="1764505"/>
            <a:ext cx="5386917" cy="4352793"/>
          </a:xfrm>
        </p:spPr>
        <p:txBody>
          <a:bodyPr>
            <a:normAutofit/>
          </a:bodyPr>
          <a:lstStyle>
            <a:lvl1pPr>
              <a:defRPr sz="2667">
                <a:solidFill>
                  <a:schemeClr val="tx1">
                    <a:lumMod val="75000"/>
                    <a:lumOff val="25000"/>
                  </a:schemeClr>
                </a:solidFill>
                <a:latin typeface="+mn-lt"/>
                <a:cs typeface="Segoe UI Light" panose="020B0502040204020203" pitchFamily="34" charset="0"/>
              </a:defRPr>
            </a:lvl1pPr>
            <a:lvl2pPr>
              <a:defRPr sz="2667">
                <a:solidFill>
                  <a:schemeClr val="tx1">
                    <a:lumMod val="75000"/>
                    <a:lumOff val="25000"/>
                  </a:schemeClr>
                </a:solidFill>
                <a:latin typeface="+mn-lt"/>
                <a:cs typeface="Segoe UI Light" panose="020B0502040204020203" pitchFamily="34" charset="0"/>
              </a:defRPr>
            </a:lvl2pPr>
            <a:lvl3pPr>
              <a:defRPr sz="2400">
                <a:solidFill>
                  <a:schemeClr val="tx1">
                    <a:lumMod val="75000"/>
                    <a:lumOff val="25000"/>
                  </a:schemeClr>
                </a:solidFill>
                <a:latin typeface="+mn-lt"/>
                <a:cs typeface="Segoe UI Light" panose="020B0502040204020203" pitchFamily="34" charset="0"/>
              </a:defRPr>
            </a:lvl3pPr>
            <a:lvl4pPr>
              <a:defRPr sz="2400">
                <a:solidFill>
                  <a:schemeClr val="tx1">
                    <a:lumMod val="75000"/>
                    <a:lumOff val="25000"/>
                  </a:schemeClr>
                </a:solidFill>
                <a:latin typeface="+mn-lt"/>
                <a:cs typeface="Segoe UI Light" panose="020B0502040204020203" pitchFamily="34" charset="0"/>
              </a:defRPr>
            </a:lvl4pPr>
            <a:lvl5pPr>
              <a:defRPr sz="2133">
                <a:solidFill>
                  <a:schemeClr val="tx1">
                    <a:lumMod val="75000"/>
                    <a:lumOff val="25000"/>
                  </a:schemeClr>
                </a:solidFill>
                <a:latin typeface="+mn-lt"/>
                <a:cs typeface="Segoe UI Light" panose="020B0502040204020203" pitchFamily="34" charset="0"/>
              </a:defRPr>
            </a:lvl5pPr>
            <a:lvl6pPr>
              <a:defRPr sz="2133"/>
            </a:lvl6pPr>
            <a:lvl7pPr>
              <a:defRPr sz="2133"/>
            </a:lvl7pPr>
            <a:lvl8pPr>
              <a:defRPr sz="2133"/>
            </a:lvl8pPr>
            <a:lvl9pPr>
              <a:defRPr sz="2133"/>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5" name="Text Placeholder 4"/>
          <p:cNvSpPr>
            <a:spLocks noGrp="1"/>
          </p:cNvSpPr>
          <p:nvPr>
            <p:ph type="body" sz="quarter" idx="3"/>
          </p:nvPr>
        </p:nvSpPr>
        <p:spPr>
          <a:xfrm>
            <a:off x="6193369" y="1124744"/>
            <a:ext cx="5389033" cy="639761"/>
          </a:xfrm>
        </p:spPr>
        <p:txBody>
          <a:bodyPr anchor="b"/>
          <a:lstStyle>
            <a:lvl1pPr marL="0" indent="0">
              <a:buNone/>
              <a:defRPr sz="2667" b="0">
                <a:solidFill>
                  <a:schemeClr val="tx1">
                    <a:lumMod val="75000"/>
                    <a:lumOff val="25000"/>
                  </a:schemeClr>
                </a:solidFill>
                <a:latin typeface="+mn-lt"/>
                <a:cs typeface="Segoe UI Light" panose="020B0502040204020203"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6" name="Content Placeholder 5"/>
          <p:cNvSpPr>
            <a:spLocks noGrp="1"/>
          </p:cNvSpPr>
          <p:nvPr>
            <p:ph sz="quarter" idx="4"/>
          </p:nvPr>
        </p:nvSpPr>
        <p:spPr>
          <a:xfrm>
            <a:off x="6193369" y="1764505"/>
            <a:ext cx="5389033" cy="4352793"/>
          </a:xfrm>
        </p:spPr>
        <p:txBody>
          <a:bodyPr>
            <a:normAutofit/>
          </a:bodyPr>
          <a:lstStyle>
            <a:lvl1pPr>
              <a:defRPr sz="2667">
                <a:solidFill>
                  <a:schemeClr val="tx1">
                    <a:lumMod val="75000"/>
                    <a:lumOff val="25000"/>
                  </a:schemeClr>
                </a:solidFill>
                <a:latin typeface="+mn-lt"/>
                <a:cs typeface="Segoe UI Light" panose="020B0502040204020203" pitchFamily="34" charset="0"/>
              </a:defRPr>
            </a:lvl1pPr>
            <a:lvl2pPr>
              <a:defRPr sz="2667">
                <a:solidFill>
                  <a:schemeClr val="tx1">
                    <a:lumMod val="75000"/>
                    <a:lumOff val="25000"/>
                  </a:schemeClr>
                </a:solidFill>
                <a:latin typeface="+mn-lt"/>
                <a:cs typeface="Segoe UI Light" panose="020B0502040204020203" pitchFamily="34" charset="0"/>
              </a:defRPr>
            </a:lvl2pPr>
            <a:lvl3pPr>
              <a:defRPr sz="2400">
                <a:solidFill>
                  <a:schemeClr val="tx1">
                    <a:lumMod val="75000"/>
                    <a:lumOff val="25000"/>
                  </a:schemeClr>
                </a:solidFill>
                <a:latin typeface="+mn-lt"/>
                <a:cs typeface="Segoe UI Light" panose="020B0502040204020203" pitchFamily="34" charset="0"/>
              </a:defRPr>
            </a:lvl3pPr>
            <a:lvl4pPr>
              <a:defRPr sz="2400">
                <a:solidFill>
                  <a:schemeClr val="tx1">
                    <a:lumMod val="75000"/>
                    <a:lumOff val="25000"/>
                  </a:schemeClr>
                </a:solidFill>
                <a:latin typeface="+mn-lt"/>
                <a:cs typeface="Segoe UI Light" panose="020B0502040204020203" pitchFamily="34" charset="0"/>
              </a:defRPr>
            </a:lvl4pPr>
            <a:lvl5pPr>
              <a:defRPr sz="2400">
                <a:solidFill>
                  <a:schemeClr val="tx1">
                    <a:lumMod val="75000"/>
                    <a:lumOff val="25000"/>
                  </a:schemeClr>
                </a:solidFill>
                <a:latin typeface="+mn-lt"/>
                <a:cs typeface="Segoe UI Light" panose="020B0502040204020203" pitchFamily="34" charset="0"/>
              </a:defRPr>
            </a:lvl5pPr>
            <a:lvl6pPr>
              <a:defRPr sz="2133"/>
            </a:lvl6pPr>
            <a:lvl7pPr>
              <a:defRPr sz="2133"/>
            </a:lvl7pPr>
            <a:lvl8pPr>
              <a:defRPr sz="2133"/>
            </a:lvl8pPr>
            <a:lvl9pPr>
              <a:defRPr sz="2133"/>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10" name="Title 1"/>
          <p:cNvSpPr>
            <a:spLocks noGrp="1"/>
          </p:cNvSpPr>
          <p:nvPr>
            <p:ph type="title"/>
          </p:nvPr>
        </p:nvSpPr>
        <p:spPr>
          <a:xfrm>
            <a:off x="609600" y="275167"/>
            <a:ext cx="10959008" cy="657556"/>
          </a:xfrm>
        </p:spPr>
        <p:txBody>
          <a:bodyPr/>
          <a:lstStyle>
            <a:lvl1pPr algn="l">
              <a:defRPr sz="4800" b="0">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374330636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Blue">
    <p:bg>
      <p:bgRef idx="1001">
        <a:schemeClr val="bg1"/>
      </p:bgRef>
    </p:bg>
    <p:spTree>
      <p:nvGrpSpPr>
        <p:cNvPr id="1" name=""/>
        <p:cNvGrpSpPr/>
        <p:nvPr/>
      </p:nvGrpSpPr>
      <p:grpSpPr>
        <a:xfrm>
          <a:off x="0" y="0"/>
          <a:ext cx="0" cy="0"/>
          <a:chOff x="0" y="0"/>
          <a:chExt cx="0" cy="0"/>
        </a:xfrm>
      </p:grpSpPr>
      <p:sp>
        <p:nvSpPr>
          <p:cNvPr id="6" name="Title 1"/>
          <p:cNvSpPr>
            <a:spLocks noGrp="1"/>
          </p:cNvSpPr>
          <p:nvPr>
            <p:ph type="title"/>
          </p:nvPr>
        </p:nvSpPr>
        <p:spPr>
          <a:xfrm>
            <a:off x="609600" y="275167"/>
            <a:ext cx="11247040" cy="657556"/>
          </a:xfrm>
        </p:spPr>
        <p:txBody>
          <a:bodyPr/>
          <a:lstStyle>
            <a:lvl1pPr algn="l">
              <a:defRPr sz="4800" b="0">
                <a:solidFill>
                  <a:schemeClr val="tx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4954844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185987"/>
            <a:ext cx="10972800" cy="849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p>
        </p:txBody>
      </p:sp>
      <p:sp>
        <p:nvSpPr>
          <p:cNvPr id="1027" name="Text Placeholder 2"/>
          <p:cNvSpPr>
            <a:spLocks noGrp="1"/>
          </p:cNvSpPr>
          <p:nvPr>
            <p:ph type="body" idx="1"/>
          </p:nvPr>
        </p:nvSpPr>
        <p:spPr bwMode="auto">
          <a:xfrm>
            <a:off x="609600" y="1232452"/>
            <a:ext cx="10972800" cy="5009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smtClean="0"/>
          </a:p>
        </p:txBody>
      </p:sp>
      <p:sp>
        <p:nvSpPr>
          <p:cNvPr id="7" name="Rectangle 6"/>
          <p:cNvSpPr/>
          <p:nvPr userDrawn="1"/>
        </p:nvSpPr>
        <p:spPr>
          <a:xfrm>
            <a:off x="0" y="6405331"/>
            <a:ext cx="12192000" cy="452669"/>
          </a:xfrm>
          <a:prstGeom prst="rect">
            <a:avLst/>
          </a:prstGeom>
          <a:solidFill>
            <a:srgbClr val="B9141A"/>
          </a:solidFill>
          <a:ln>
            <a:noFill/>
          </a:ln>
          <a:extLst/>
        </p:spPr>
        <p:txBody>
          <a:bodyPr vert="horz" wrap="square" lIns="121920" tIns="60960" rIns="121920" bIns="60960" numCol="1" anchor="t" anchorCtr="0" compatLnSpc="1">
            <a:prstTxWarp prst="textNoShape">
              <a:avLst/>
            </a:prstTxWarp>
          </a:bodyPr>
          <a:lstStyle/>
          <a:p>
            <a:pPr algn="r" eaLnBrk="0" fontAlgn="base" hangingPunct="0">
              <a:spcBef>
                <a:spcPct val="20000"/>
              </a:spcBef>
              <a:spcAft>
                <a:spcPct val="0"/>
              </a:spcAft>
            </a:pPr>
            <a:r>
              <a:rPr lang="fr-FR" sz="1867" dirty="0" smtClean="0">
                <a:solidFill>
                  <a:schemeClr val="bg1"/>
                </a:solidFill>
                <a:latin typeface="+mn-lt"/>
                <a:cs typeface="Segoe UI Light" panose="020B0502040204020203" pitchFamily="34" charset="0"/>
              </a:rPr>
              <a:t>#JSS2013</a:t>
            </a:r>
            <a:endParaRPr lang="fr-FR" sz="1867" dirty="0">
              <a:solidFill>
                <a:schemeClr val="bg1"/>
              </a:solidFill>
              <a:latin typeface="+mn-lt"/>
              <a:cs typeface="Segoe UI Light" panose="020B0502040204020203" pitchFamily="34" charset="0"/>
            </a:endParaRPr>
          </a:p>
        </p:txBody>
      </p:sp>
      <p:pic>
        <p:nvPicPr>
          <p:cNvPr id="5" name="Picture 4"/>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0104251" y="5752909"/>
            <a:ext cx="2087749" cy="652422"/>
          </a:xfrm>
          <a:prstGeom prst="rect">
            <a:avLst/>
          </a:prstGeom>
        </p:spPr>
      </p:pic>
    </p:spTree>
    <p:extLst>
      <p:ext uri="{BB962C8B-B14F-4D97-AF65-F5344CB8AC3E}">
        <p14:creationId xmlns:p14="http://schemas.microsoft.com/office/powerpoint/2010/main" val="19158464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5" r:id="rId12"/>
    <p:sldLayoutId id="2147483672" r:id="rId13"/>
    <p:sldLayoutId id="2147483673" r:id="rId14"/>
    <p:sldLayoutId id="2147483674" r:id="rId15"/>
  </p:sldLayoutIdLst>
  <p:timing>
    <p:tnLst>
      <p:par>
        <p:cTn id="1" dur="indefinite" restart="never" nodeType="tmRoot"/>
      </p:par>
    </p:tnLst>
  </p:timing>
  <p:txStyles>
    <p:titleStyle>
      <a:lvl1pPr algn="l" rtl="0" eaLnBrk="0" fontAlgn="base" hangingPunct="0">
        <a:spcBef>
          <a:spcPct val="0"/>
        </a:spcBef>
        <a:spcAft>
          <a:spcPct val="0"/>
        </a:spcAft>
        <a:defRPr lang="en-US" sz="4800" b="0" kern="1200" cap="none" spc="-133" baseline="0" dirty="0" smtClean="0">
          <a:ln w="3175">
            <a:noFill/>
          </a:ln>
          <a:solidFill>
            <a:schemeClr val="tx1">
              <a:lumMod val="75000"/>
              <a:lumOff val="25000"/>
            </a:schemeClr>
          </a:solidFill>
          <a:effectLst/>
          <a:latin typeface="+mj-lt"/>
          <a:ea typeface="+mn-ea"/>
          <a:cs typeface="Arial" charset="0"/>
        </a:defRPr>
      </a:lvl1pPr>
      <a:lvl2pPr algn="ctr" rtl="0" eaLnBrk="0" fontAlgn="base" hangingPunct="0">
        <a:spcBef>
          <a:spcPct val="0"/>
        </a:spcBef>
        <a:spcAft>
          <a:spcPct val="0"/>
        </a:spcAft>
        <a:defRPr sz="5867">
          <a:solidFill>
            <a:schemeClr val="tx1"/>
          </a:solidFill>
          <a:latin typeface="Calibri" panose="020F0502020204030204" pitchFamily="34" charset="0"/>
        </a:defRPr>
      </a:lvl2pPr>
      <a:lvl3pPr algn="ctr" rtl="0" eaLnBrk="0" fontAlgn="base" hangingPunct="0">
        <a:spcBef>
          <a:spcPct val="0"/>
        </a:spcBef>
        <a:spcAft>
          <a:spcPct val="0"/>
        </a:spcAft>
        <a:defRPr sz="5867">
          <a:solidFill>
            <a:schemeClr val="tx1"/>
          </a:solidFill>
          <a:latin typeface="Calibri" panose="020F0502020204030204" pitchFamily="34" charset="0"/>
        </a:defRPr>
      </a:lvl3pPr>
      <a:lvl4pPr algn="ctr" rtl="0" eaLnBrk="0" fontAlgn="base" hangingPunct="0">
        <a:spcBef>
          <a:spcPct val="0"/>
        </a:spcBef>
        <a:spcAft>
          <a:spcPct val="0"/>
        </a:spcAft>
        <a:defRPr sz="5867">
          <a:solidFill>
            <a:schemeClr val="tx1"/>
          </a:solidFill>
          <a:latin typeface="Calibri" panose="020F0502020204030204" pitchFamily="34" charset="0"/>
        </a:defRPr>
      </a:lvl4pPr>
      <a:lvl5pPr algn="ctr" rtl="0" eaLnBrk="0" fontAlgn="base" hangingPunct="0">
        <a:spcBef>
          <a:spcPct val="0"/>
        </a:spcBef>
        <a:spcAft>
          <a:spcPct val="0"/>
        </a:spcAft>
        <a:defRPr sz="5867">
          <a:solidFill>
            <a:schemeClr val="tx1"/>
          </a:solidFill>
          <a:latin typeface="Calibri" panose="020F0502020204030204" pitchFamily="34" charset="0"/>
        </a:defRPr>
      </a:lvl5pPr>
      <a:lvl6pPr marL="609585" algn="ctr" rtl="0" fontAlgn="base">
        <a:spcBef>
          <a:spcPct val="0"/>
        </a:spcBef>
        <a:spcAft>
          <a:spcPct val="0"/>
        </a:spcAft>
        <a:defRPr sz="5867">
          <a:solidFill>
            <a:schemeClr val="tx1"/>
          </a:solidFill>
          <a:latin typeface="Calibri" panose="020F0502020204030204" pitchFamily="34" charset="0"/>
        </a:defRPr>
      </a:lvl6pPr>
      <a:lvl7pPr marL="1219170" algn="ctr" rtl="0" fontAlgn="base">
        <a:spcBef>
          <a:spcPct val="0"/>
        </a:spcBef>
        <a:spcAft>
          <a:spcPct val="0"/>
        </a:spcAft>
        <a:defRPr sz="5867">
          <a:solidFill>
            <a:schemeClr val="tx1"/>
          </a:solidFill>
          <a:latin typeface="Calibri" panose="020F0502020204030204" pitchFamily="34" charset="0"/>
        </a:defRPr>
      </a:lvl7pPr>
      <a:lvl8pPr marL="1828754" algn="ctr" rtl="0" fontAlgn="base">
        <a:spcBef>
          <a:spcPct val="0"/>
        </a:spcBef>
        <a:spcAft>
          <a:spcPct val="0"/>
        </a:spcAft>
        <a:defRPr sz="5867">
          <a:solidFill>
            <a:schemeClr val="tx1"/>
          </a:solidFill>
          <a:latin typeface="Calibri" panose="020F0502020204030204" pitchFamily="34" charset="0"/>
        </a:defRPr>
      </a:lvl8pPr>
      <a:lvl9pPr marL="2438339" algn="ctr" rtl="0" fontAlgn="base">
        <a:spcBef>
          <a:spcPct val="0"/>
        </a:spcBef>
        <a:spcAft>
          <a:spcPct val="0"/>
        </a:spcAft>
        <a:defRPr sz="5867">
          <a:solidFill>
            <a:schemeClr val="tx1"/>
          </a:solidFill>
          <a:latin typeface="Calibri" panose="020F050202020403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chemeClr val="tx1">
              <a:lumMod val="75000"/>
              <a:lumOff val="25000"/>
            </a:schemeClr>
          </a:solidFill>
          <a:latin typeface="+mj-lt"/>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200" kern="1200">
          <a:solidFill>
            <a:schemeClr val="tx1">
              <a:lumMod val="75000"/>
              <a:lumOff val="25000"/>
            </a:schemeClr>
          </a:solidFill>
          <a:latin typeface="+mn-lt"/>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chemeClr val="tx1">
              <a:lumMod val="75000"/>
              <a:lumOff val="25000"/>
            </a:schemeClr>
          </a:solidFill>
          <a:latin typeface="+mn-lt"/>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chemeClr val="tx1">
              <a:lumMod val="75000"/>
              <a:lumOff val="25000"/>
            </a:schemeClr>
          </a:solidFill>
          <a:latin typeface="+mn-lt"/>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chemeClr val="tx1">
              <a:lumMod val="75000"/>
              <a:lumOff val="25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xml"/><Relationship Id="rId4" Type="http://schemas.openxmlformats.org/officeDocument/2006/relationships/image" Target="../media/image6.gif"/></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gif"/><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3.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jpeg"/><Relationship Id="rId10" Type="http://schemas.openxmlformats.org/officeDocument/2006/relationships/image" Target="../media/image13.png"/><Relationship Id="rId4" Type="http://schemas.openxmlformats.org/officeDocument/2006/relationships/image" Target="../media/image7.jpg"/><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6.gif"/><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6.gif"/><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8.png"/><Relationship Id="rId4" Type="http://schemas.openxmlformats.org/officeDocument/2006/relationships/image" Target="../media/image20.gif"/></Relationships>
</file>

<file path=ppt/slides/_rels/slide8.xml.rels><?xml version="1.0" encoding="UTF-8" standalone="yes"?>
<Relationships xmlns="http://schemas.openxmlformats.org/package/2006/relationships"><Relationship Id="rId3" Type="http://schemas.openxmlformats.org/officeDocument/2006/relationships/image" Target="../media/image6.gif"/><Relationship Id="rId7" Type="http://schemas.openxmlformats.org/officeDocument/2006/relationships/image" Target="../media/image20.gif"/><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6.gif"/><Relationship Id="rId7"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18.png"/><Relationship Id="rId4" Type="http://schemas.openxmlformats.org/officeDocument/2006/relationships/image" Target="../media/image20.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672070"/>
      </p:ext>
    </p:extLst>
  </p:cSld>
  <p:clrMapOvr>
    <a:masterClrMapping/>
  </p:clrMapOvr>
  <mc:AlternateContent xmlns:mc="http://schemas.openxmlformats.org/markup-compatibility/2006" xmlns:p14="http://schemas.microsoft.com/office/powerpoint/2010/main">
    <mc:Choice Requires="p14">
      <p:transition p14:dur="0" advTm="1944"/>
    </mc:Choice>
    <mc:Fallback xmlns="">
      <p:transition advTm="1944"/>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Conclusion</a:t>
            </a:r>
            <a:endParaRPr lang="fr-FR" dirty="0"/>
          </a:p>
        </p:txBody>
      </p:sp>
      <p:sp>
        <p:nvSpPr>
          <p:cNvPr id="4" name="Rectangle 3"/>
          <p:cNvSpPr/>
          <p:nvPr/>
        </p:nvSpPr>
        <p:spPr>
          <a:xfrm>
            <a:off x="190500" y="2120199"/>
            <a:ext cx="2938303" cy="2880000"/>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2400" dirty="0" smtClean="0"/>
              <a:t>Métier plus ouvert</a:t>
            </a:r>
          </a:p>
          <a:p>
            <a:endParaRPr lang="fr-FR" sz="2400" dirty="0"/>
          </a:p>
          <a:p>
            <a:r>
              <a:rPr lang="fr-FR" sz="2400" dirty="0" smtClean="0"/>
              <a:t>Plus d’interlocuteurs</a:t>
            </a:r>
            <a:endParaRPr lang="fr-FR" sz="2400" dirty="0"/>
          </a:p>
          <a:p>
            <a:endParaRPr lang="fr-FR" sz="2400" dirty="0" smtClean="0"/>
          </a:p>
        </p:txBody>
      </p:sp>
      <p:sp>
        <p:nvSpPr>
          <p:cNvPr id="9" name="Rectangle 8"/>
          <p:cNvSpPr/>
          <p:nvPr/>
        </p:nvSpPr>
        <p:spPr>
          <a:xfrm>
            <a:off x="3186057" y="2120199"/>
            <a:ext cx="2880000" cy="2880000"/>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2400" dirty="0" smtClean="0"/>
              <a:t>Supervision simplifiée (rapports dans SSMS, </a:t>
            </a:r>
            <a:r>
              <a:rPr lang="fr-FR" sz="2400" dirty="0" err="1" smtClean="0"/>
              <a:t>dmv</a:t>
            </a:r>
            <a:r>
              <a:rPr lang="fr-FR" sz="2400" dirty="0" smtClean="0"/>
              <a:t>…)</a:t>
            </a:r>
          </a:p>
        </p:txBody>
      </p:sp>
      <p:sp>
        <p:nvSpPr>
          <p:cNvPr id="10" name="Rectangle 9"/>
          <p:cNvSpPr/>
          <p:nvPr/>
        </p:nvSpPr>
        <p:spPr>
          <a:xfrm>
            <a:off x="6146934" y="2120199"/>
            <a:ext cx="2880000" cy="2880000"/>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2400" dirty="0" smtClean="0"/>
              <a:t>Moins d’</a:t>
            </a:r>
            <a:r>
              <a:rPr lang="fr-FR" sz="2400" dirty="0" err="1" smtClean="0"/>
              <a:t>administra-tion</a:t>
            </a:r>
            <a:endParaRPr lang="fr-FR" sz="2400" dirty="0" smtClean="0"/>
          </a:p>
          <a:p>
            <a:r>
              <a:rPr lang="fr-FR" sz="2400" dirty="0"/>
              <a:t>P</a:t>
            </a:r>
            <a:r>
              <a:rPr lang="fr-FR" sz="2400" dirty="0" smtClean="0"/>
              <a:t>lus d’architecture</a:t>
            </a:r>
          </a:p>
        </p:txBody>
      </p:sp>
      <p:sp>
        <p:nvSpPr>
          <p:cNvPr id="11" name="Rectangle 10"/>
          <p:cNvSpPr/>
          <p:nvPr/>
        </p:nvSpPr>
        <p:spPr>
          <a:xfrm>
            <a:off x="9095113" y="2120199"/>
            <a:ext cx="2880000" cy="2880000"/>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2400" dirty="0" smtClean="0"/>
              <a:t>Performances et optimisation primordiales</a:t>
            </a:r>
          </a:p>
        </p:txBody>
      </p:sp>
      <p:pic>
        <p:nvPicPr>
          <p:cNvPr id="12" name="Imag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78687" y="5677671"/>
            <a:ext cx="918224" cy="677860"/>
          </a:xfrm>
          <a:prstGeom prst="rect">
            <a:avLst/>
          </a:prstGeom>
        </p:spPr>
      </p:pic>
      <p:sp>
        <p:nvSpPr>
          <p:cNvPr id="13" name="Rectangle 10"/>
          <p:cNvSpPr/>
          <p:nvPr/>
        </p:nvSpPr>
        <p:spPr>
          <a:xfrm>
            <a:off x="914400" y="3585599"/>
            <a:ext cx="1295400" cy="1253101"/>
          </a:xfrm>
          <a:custGeom>
            <a:avLst/>
            <a:gdLst/>
            <a:ahLst/>
            <a:cxnLst/>
            <a:rect l="l" t="t" r="r" b="b"/>
            <a:pathLst>
              <a:path w="3086765" h="3779931">
                <a:moveTo>
                  <a:pt x="1999856" y="3506771"/>
                </a:moveTo>
                <a:cubicBezTo>
                  <a:pt x="1999856" y="3506771"/>
                  <a:pt x="1999856" y="3506771"/>
                  <a:pt x="1999856" y="3506772"/>
                </a:cubicBezTo>
                <a:lnTo>
                  <a:pt x="1999856" y="3506772"/>
                </a:lnTo>
                <a:close/>
                <a:moveTo>
                  <a:pt x="2109339" y="3397289"/>
                </a:moveTo>
                <a:lnTo>
                  <a:pt x="2977282" y="3397289"/>
                </a:lnTo>
                <a:cubicBezTo>
                  <a:pt x="3037748" y="3397289"/>
                  <a:pt x="3086765" y="3446306"/>
                  <a:pt x="3086765" y="3506772"/>
                </a:cubicBezTo>
                <a:lnTo>
                  <a:pt x="3086764" y="3506772"/>
                </a:lnTo>
                <a:cubicBezTo>
                  <a:pt x="3086764" y="3567238"/>
                  <a:pt x="3037747" y="3616255"/>
                  <a:pt x="2977281" y="3616255"/>
                </a:cubicBezTo>
                <a:lnTo>
                  <a:pt x="2109339" y="3616254"/>
                </a:lnTo>
                <a:cubicBezTo>
                  <a:pt x="2048873" y="3616254"/>
                  <a:pt x="1999856" y="3567237"/>
                  <a:pt x="1999856" y="3506772"/>
                </a:cubicBezTo>
                <a:cubicBezTo>
                  <a:pt x="1999856" y="3446306"/>
                  <a:pt x="2048873" y="3397289"/>
                  <a:pt x="2109339" y="3397289"/>
                </a:cubicBezTo>
                <a:close/>
                <a:moveTo>
                  <a:pt x="109483" y="3397289"/>
                </a:moveTo>
                <a:lnTo>
                  <a:pt x="977426" y="3397289"/>
                </a:lnTo>
                <a:cubicBezTo>
                  <a:pt x="1037892" y="3397289"/>
                  <a:pt x="1086909" y="3446306"/>
                  <a:pt x="1086909" y="3506772"/>
                </a:cubicBezTo>
                <a:lnTo>
                  <a:pt x="1086908" y="3506772"/>
                </a:lnTo>
                <a:cubicBezTo>
                  <a:pt x="1086908" y="3567238"/>
                  <a:pt x="1037891" y="3616255"/>
                  <a:pt x="977425" y="3616255"/>
                </a:cubicBezTo>
                <a:lnTo>
                  <a:pt x="109483" y="3616254"/>
                </a:lnTo>
                <a:cubicBezTo>
                  <a:pt x="49017" y="3616254"/>
                  <a:pt x="0" y="3567237"/>
                  <a:pt x="0" y="3506772"/>
                </a:cubicBezTo>
                <a:cubicBezTo>
                  <a:pt x="0" y="3446306"/>
                  <a:pt x="49017" y="3397289"/>
                  <a:pt x="109483" y="3397289"/>
                </a:cubicBezTo>
                <a:close/>
                <a:moveTo>
                  <a:pt x="2261509" y="2201878"/>
                </a:moveTo>
                <a:cubicBezTo>
                  <a:pt x="2170732" y="2453748"/>
                  <a:pt x="2028893" y="2670767"/>
                  <a:pt x="1851489" y="2826877"/>
                </a:cubicBezTo>
                <a:cubicBezTo>
                  <a:pt x="2214768" y="2744530"/>
                  <a:pt x="2521228" y="2513782"/>
                  <a:pt x="2705496" y="2201878"/>
                </a:cubicBezTo>
                <a:close/>
                <a:moveTo>
                  <a:pt x="1623661" y="2201878"/>
                </a:moveTo>
                <a:lnTo>
                  <a:pt x="1623661" y="2788147"/>
                </a:lnTo>
                <a:cubicBezTo>
                  <a:pt x="1813476" y="2647169"/>
                  <a:pt x="1967032" y="2442931"/>
                  <a:pt x="2066783" y="2201878"/>
                </a:cubicBezTo>
                <a:close/>
                <a:moveTo>
                  <a:pt x="1019982" y="2201878"/>
                </a:moveTo>
                <a:cubicBezTo>
                  <a:pt x="1120036" y="2443671"/>
                  <a:pt x="1274231" y="2648421"/>
                  <a:pt x="1464911" y="2789359"/>
                </a:cubicBezTo>
                <a:lnTo>
                  <a:pt x="1464911" y="2201878"/>
                </a:lnTo>
                <a:close/>
                <a:moveTo>
                  <a:pt x="2383489" y="1552453"/>
                </a:moveTo>
                <a:cubicBezTo>
                  <a:pt x="2380496" y="1747657"/>
                  <a:pt x="2349064" y="1936686"/>
                  <a:pt x="2290876" y="2110438"/>
                </a:cubicBezTo>
                <a:lnTo>
                  <a:pt x="2755249" y="2110438"/>
                </a:lnTo>
                <a:cubicBezTo>
                  <a:pt x="2840383" y="1941903"/>
                  <a:pt x="2889796" y="1752658"/>
                  <a:pt x="2894278" y="1552453"/>
                </a:cubicBezTo>
                <a:close/>
                <a:moveTo>
                  <a:pt x="1623661" y="1552453"/>
                </a:moveTo>
                <a:lnTo>
                  <a:pt x="1623661" y="2110438"/>
                </a:lnTo>
                <a:lnTo>
                  <a:pt x="2105193" y="2110438"/>
                </a:lnTo>
                <a:cubicBezTo>
                  <a:pt x="2167451" y="1937285"/>
                  <a:pt x="2203236" y="1748204"/>
                  <a:pt x="2205686" y="1552453"/>
                </a:cubicBezTo>
                <a:close/>
                <a:moveTo>
                  <a:pt x="881079" y="1552453"/>
                </a:moveTo>
                <a:cubicBezTo>
                  <a:pt x="883529" y="1748204"/>
                  <a:pt x="919314" y="1937285"/>
                  <a:pt x="981572" y="2110438"/>
                </a:cubicBezTo>
                <a:lnTo>
                  <a:pt x="1464911" y="2110438"/>
                </a:lnTo>
                <a:lnTo>
                  <a:pt x="1464911" y="1552453"/>
                </a:lnTo>
                <a:close/>
                <a:moveTo>
                  <a:pt x="2304759" y="912828"/>
                </a:moveTo>
                <a:cubicBezTo>
                  <a:pt x="2351965" y="1077244"/>
                  <a:pt x="2380164" y="1260785"/>
                  <a:pt x="2383179" y="1461013"/>
                </a:cubicBezTo>
                <a:lnTo>
                  <a:pt x="2893783" y="1461013"/>
                </a:lnTo>
                <a:cubicBezTo>
                  <a:pt x="2888170" y="1264420"/>
                  <a:pt x="2839013" y="1078594"/>
                  <a:pt x="2755249" y="912828"/>
                </a:cubicBezTo>
                <a:close/>
                <a:moveTo>
                  <a:pt x="1623661" y="912828"/>
                </a:moveTo>
                <a:lnTo>
                  <a:pt x="1623661" y="1461013"/>
                </a:lnTo>
                <a:lnTo>
                  <a:pt x="2205093" y="1461013"/>
                </a:lnTo>
                <a:cubicBezTo>
                  <a:pt x="2202693" y="1258911"/>
                  <a:pt x="2170074" y="1075001"/>
                  <a:pt x="2113944" y="912828"/>
                </a:cubicBezTo>
                <a:close/>
                <a:moveTo>
                  <a:pt x="972821" y="912828"/>
                </a:moveTo>
                <a:cubicBezTo>
                  <a:pt x="916691" y="1075001"/>
                  <a:pt x="884072" y="1258911"/>
                  <a:pt x="881672" y="1461013"/>
                </a:cubicBezTo>
                <a:lnTo>
                  <a:pt x="1464911" y="1461013"/>
                </a:lnTo>
                <a:lnTo>
                  <a:pt x="1464911" y="912828"/>
                </a:lnTo>
                <a:close/>
                <a:moveTo>
                  <a:pt x="1623661" y="214240"/>
                </a:moveTo>
                <a:lnTo>
                  <a:pt x="1623661" y="821388"/>
                </a:lnTo>
                <a:lnTo>
                  <a:pt x="2083119" y="821388"/>
                </a:lnTo>
                <a:cubicBezTo>
                  <a:pt x="1976971" y="547857"/>
                  <a:pt x="1810336" y="340716"/>
                  <a:pt x="1623661" y="214240"/>
                </a:cubicBezTo>
                <a:close/>
                <a:moveTo>
                  <a:pt x="1464911" y="213157"/>
                </a:moveTo>
                <a:cubicBezTo>
                  <a:pt x="1277468" y="339426"/>
                  <a:pt x="1110124" y="547005"/>
                  <a:pt x="1003646" y="821388"/>
                </a:cubicBezTo>
                <a:lnTo>
                  <a:pt x="1464911" y="821388"/>
                </a:lnTo>
                <a:close/>
                <a:moveTo>
                  <a:pt x="1892341" y="204682"/>
                </a:moveTo>
                <a:cubicBezTo>
                  <a:pt x="2050969" y="348376"/>
                  <a:pt x="2188175" y="557719"/>
                  <a:pt x="2277029" y="821388"/>
                </a:cubicBezTo>
                <a:lnTo>
                  <a:pt x="2705496" y="821388"/>
                </a:lnTo>
                <a:cubicBezTo>
                  <a:pt x="2528118" y="521145"/>
                  <a:pt x="2237513" y="296104"/>
                  <a:pt x="1892341" y="204682"/>
                </a:cubicBezTo>
                <a:close/>
                <a:moveTo>
                  <a:pt x="1046352" y="85352"/>
                </a:moveTo>
                <a:cubicBezTo>
                  <a:pt x="684581" y="412522"/>
                  <a:pt x="452086" y="929793"/>
                  <a:pt x="452086" y="1511633"/>
                </a:cubicBezTo>
                <a:cubicBezTo>
                  <a:pt x="452086" y="2093473"/>
                  <a:pt x="684581" y="2610744"/>
                  <a:pt x="1046352" y="2937914"/>
                </a:cubicBezTo>
                <a:cubicBezTo>
                  <a:pt x="455406" y="2733740"/>
                  <a:pt x="31750" y="2172161"/>
                  <a:pt x="31750" y="1511633"/>
                </a:cubicBezTo>
                <a:cubicBezTo>
                  <a:pt x="31750" y="851105"/>
                  <a:pt x="455406" y="289526"/>
                  <a:pt x="1046352" y="85352"/>
                </a:cubicBezTo>
                <a:close/>
                <a:moveTo>
                  <a:pt x="1542678" y="0"/>
                </a:moveTo>
                <a:lnTo>
                  <a:pt x="1543382" y="245"/>
                </a:lnTo>
                <a:lnTo>
                  <a:pt x="1543382" y="1"/>
                </a:lnTo>
                <a:lnTo>
                  <a:pt x="1543995" y="32"/>
                </a:lnTo>
                <a:lnTo>
                  <a:pt x="1544087" y="0"/>
                </a:lnTo>
                <a:lnTo>
                  <a:pt x="1544087" y="36"/>
                </a:lnTo>
                <a:cubicBezTo>
                  <a:pt x="2378614" y="382"/>
                  <a:pt x="3055014" y="677017"/>
                  <a:pt x="3055014" y="1511633"/>
                </a:cubicBezTo>
                <a:cubicBezTo>
                  <a:pt x="3055014" y="2319520"/>
                  <a:pt x="2421245" y="2979382"/>
                  <a:pt x="1623661" y="3019179"/>
                </a:cubicBezTo>
                <a:lnTo>
                  <a:pt x="1623661" y="3244198"/>
                </a:lnTo>
                <a:cubicBezTo>
                  <a:pt x="1736886" y="3276942"/>
                  <a:pt x="1819070" y="3381679"/>
                  <a:pt x="1819070" y="3505611"/>
                </a:cubicBezTo>
                <a:cubicBezTo>
                  <a:pt x="1819070" y="3657114"/>
                  <a:pt x="1696253" y="3779931"/>
                  <a:pt x="1544750" y="3779931"/>
                </a:cubicBezTo>
                <a:cubicBezTo>
                  <a:pt x="1393247" y="3779931"/>
                  <a:pt x="1270430" y="3657114"/>
                  <a:pt x="1270430" y="3505611"/>
                </a:cubicBezTo>
                <a:cubicBezTo>
                  <a:pt x="1270430" y="3382021"/>
                  <a:pt x="1352160" y="3277520"/>
                  <a:pt x="1464911" y="3244486"/>
                </a:cubicBezTo>
                <a:lnTo>
                  <a:pt x="1464911" y="2986013"/>
                </a:lnTo>
                <a:cubicBezTo>
                  <a:pt x="1010010" y="2752749"/>
                  <a:pt x="702007" y="2163131"/>
                  <a:pt x="702007" y="1511632"/>
                </a:cubicBezTo>
                <a:cubicBezTo>
                  <a:pt x="702007" y="677717"/>
                  <a:pt x="1117361" y="121898"/>
                  <a:pt x="1542678" y="49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ln>
                <a:solidFill>
                  <a:srgbClr val="FFFFFF">
                    <a:alpha val="0"/>
                  </a:srgbClr>
                </a:solidFill>
              </a:ln>
              <a:solidFill>
                <a:srgbClr val="FFFFFF"/>
              </a:solidFill>
            </a:endParaRPr>
          </a:p>
        </p:txBody>
      </p:sp>
      <p:grpSp>
        <p:nvGrpSpPr>
          <p:cNvPr id="7" name="Group 6"/>
          <p:cNvGrpSpPr/>
          <p:nvPr/>
        </p:nvGrpSpPr>
        <p:grpSpPr>
          <a:xfrm>
            <a:off x="3977926" y="3687199"/>
            <a:ext cx="1321662" cy="949261"/>
            <a:chOff x="4075838" y="3812654"/>
            <a:chExt cx="828667" cy="565607"/>
          </a:xfrm>
        </p:grpSpPr>
        <p:sp>
          <p:nvSpPr>
            <p:cNvPr id="14" name="Rounded Rectangle 307"/>
            <p:cNvSpPr/>
            <p:nvPr/>
          </p:nvSpPr>
          <p:spPr bwMode="auto">
            <a:xfrm rot="1411326">
              <a:off x="4566065" y="4148896"/>
              <a:ext cx="338440" cy="229365"/>
            </a:xfrm>
            <a:custGeom>
              <a:avLst/>
              <a:gdLst/>
              <a:ahLst/>
              <a:cxnLst/>
              <a:rect l="l" t="t" r="r" b="b"/>
              <a:pathLst>
                <a:path w="308831" h="209299">
                  <a:moveTo>
                    <a:pt x="6932" y="0"/>
                  </a:moveTo>
                  <a:lnTo>
                    <a:pt x="62731" y="5004"/>
                  </a:lnTo>
                  <a:cubicBezTo>
                    <a:pt x="73820" y="4021"/>
                    <a:pt x="83149" y="12888"/>
                    <a:pt x="85697" y="24169"/>
                  </a:cubicBezTo>
                  <a:lnTo>
                    <a:pt x="85452" y="33272"/>
                  </a:lnTo>
                  <a:cubicBezTo>
                    <a:pt x="85954" y="32635"/>
                    <a:pt x="86485" y="32624"/>
                    <a:pt x="87017" y="32624"/>
                  </a:cubicBezTo>
                  <a:lnTo>
                    <a:pt x="270296" y="32624"/>
                  </a:lnTo>
                  <a:cubicBezTo>
                    <a:pt x="291578" y="32624"/>
                    <a:pt x="308831" y="49877"/>
                    <a:pt x="308831" y="71159"/>
                  </a:cubicBezTo>
                  <a:lnTo>
                    <a:pt x="308831" y="146071"/>
                  </a:lnTo>
                  <a:cubicBezTo>
                    <a:pt x="308831" y="167353"/>
                    <a:pt x="291578" y="184606"/>
                    <a:pt x="270296" y="184606"/>
                  </a:cubicBezTo>
                  <a:lnTo>
                    <a:pt x="87017" y="184606"/>
                  </a:lnTo>
                  <a:lnTo>
                    <a:pt x="81440" y="182295"/>
                  </a:lnTo>
                  <a:lnTo>
                    <a:pt x="81438" y="182371"/>
                  </a:lnTo>
                  <a:cubicBezTo>
                    <a:pt x="82699" y="196467"/>
                    <a:pt x="69880" y="211811"/>
                    <a:pt x="54012" y="208953"/>
                  </a:cubicBezTo>
                  <a:lnTo>
                    <a:pt x="0" y="208054"/>
                  </a:lnTo>
                  <a:cubicBezTo>
                    <a:pt x="11559" y="178614"/>
                    <a:pt x="19544" y="140965"/>
                    <a:pt x="23432" y="105100"/>
                  </a:cubicBezTo>
                  <a:cubicBezTo>
                    <a:pt x="23221" y="71020"/>
                    <a:pt x="17126" y="34619"/>
                    <a:pt x="693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n>
                  <a:solidFill>
                    <a:srgbClr val="FFFFFF">
                      <a:alpha val="0"/>
                    </a:srgbClr>
                  </a:solidFill>
                </a:ln>
                <a:solidFill>
                  <a:srgbClr val="FFFFFF"/>
                </a:solidFill>
              </a:endParaRPr>
            </a:p>
          </p:txBody>
        </p:sp>
        <p:sp>
          <p:nvSpPr>
            <p:cNvPr id="15" name="Oval 247"/>
            <p:cNvSpPr/>
            <p:nvPr/>
          </p:nvSpPr>
          <p:spPr bwMode="auto">
            <a:xfrm>
              <a:off x="4075838" y="3812654"/>
              <a:ext cx="529157" cy="529156"/>
            </a:xfrm>
            <a:custGeom>
              <a:avLst/>
              <a:gdLst/>
              <a:ahLst/>
              <a:cxnLst/>
              <a:rect l="l" t="t" r="r" b="b"/>
              <a:pathLst>
                <a:path w="573170" h="573170">
                  <a:moveTo>
                    <a:pt x="286585" y="47056"/>
                  </a:moveTo>
                  <a:cubicBezTo>
                    <a:pt x="154297" y="47056"/>
                    <a:pt x="47056" y="154297"/>
                    <a:pt x="47056" y="286585"/>
                  </a:cubicBezTo>
                  <a:cubicBezTo>
                    <a:pt x="47056" y="418873"/>
                    <a:pt x="154297" y="526114"/>
                    <a:pt x="286585" y="526114"/>
                  </a:cubicBezTo>
                  <a:cubicBezTo>
                    <a:pt x="418873" y="526114"/>
                    <a:pt x="526114" y="418873"/>
                    <a:pt x="526114" y="286585"/>
                  </a:cubicBezTo>
                  <a:cubicBezTo>
                    <a:pt x="526114" y="154297"/>
                    <a:pt x="418873" y="47056"/>
                    <a:pt x="286585" y="47056"/>
                  </a:cubicBezTo>
                  <a:close/>
                  <a:moveTo>
                    <a:pt x="286585" y="0"/>
                  </a:moveTo>
                  <a:cubicBezTo>
                    <a:pt x="444862" y="0"/>
                    <a:pt x="573170" y="128308"/>
                    <a:pt x="573170" y="286585"/>
                  </a:cubicBezTo>
                  <a:cubicBezTo>
                    <a:pt x="573170" y="444862"/>
                    <a:pt x="444862" y="573170"/>
                    <a:pt x="286585" y="573170"/>
                  </a:cubicBezTo>
                  <a:cubicBezTo>
                    <a:pt x="128308" y="573170"/>
                    <a:pt x="0" y="444862"/>
                    <a:pt x="0" y="286585"/>
                  </a:cubicBezTo>
                  <a:cubicBezTo>
                    <a:pt x="0" y="128308"/>
                    <a:pt x="128308" y="0"/>
                    <a:pt x="28658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n>
                  <a:solidFill>
                    <a:srgbClr val="FFFFFF">
                      <a:alpha val="0"/>
                    </a:srgbClr>
                  </a:solidFill>
                </a:ln>
                <a:solidFill>
                  <a:srgbClr val="FFFFFF"/>
                </a:solidFill>
              </a:endParaRPr>
            </a:p>
          </p:txBody>
        </p:sp>
        <p:sp>
          <p:nvSpPr>
            <p:cNvPr id="16" name="Freeform 86"/>
            <p:cNvSpPr>
              <a:spLocks noEditPoints="1"/>
            </p:cNvSpPr>
            <p:nvPr/>
          </p:nvSpPr>
          <p:spPr bwMode="black">
            <a:xfrm>
              <a:off x="4174288" y="3994808"/>
              <a:ext cx="242625" cy="243963"/>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ln>
                  <a:solidFill>
                    <a:srgbClr val="FFFFFF">
                      <a:alpha val="0"/>
                    </a:srgbClr>
                  </a:solidFill>
                </a:ln>
                <a:solidFill>
                  <a:srgbClr val="FFFFFF"/>
                </a:solidFill>
              </a:endParaRPr>
            </a:p>
          </p:txBody>
        </p:sp>
      </p:grpSp>
      <p:grpSp>
        <p:nvGrpSpPr>
          <p:cNvPr id="17" name="Group 16"/>
          <p:cNvGrpSpPr/>
          <p:nvPr/>
        </p:nvGrpSpPr>
        <p:grpSpPr>
          <a:xfrm>
            <a:off x="6793543" y="3731292"/>
            <a:ext cx="1431892" cy="945592"/>
            <a:chOff x="1025977" y="2545385"/>
            <a:chExt cx="1840006" cy="1065065"/>
          </a:xfrm>
          <a:solidFill>
            <a:schemeClr val="bg1"/>
          </a:solidFill>
        </p:grpSpPr>
        <p:sp>
          <p:nvSpPr>
            <p:cNvPr id="18" name="Rectangle 6"/>
            <p:cNvSpPr/>
            <p:nvPr/>
          </p:nvSpPr>
          <p:spPr>
            <a:xfrm>
              <a:off x="1025977" y="2545385"/>
              <a:ext cx="1416984" cy="902663"/>
            </a:xfrm>
            <a:custGeom>
              <a:avLst/>
              <a:gdLst/>
              <a:ahLst/>
              <a:cxnLst/>
              <a:rect l="l" t="t" r="r" b="b"/>
              <a:pathLst>
                <a:path w="1416985" h="902663">
                  <a:moveTo>
                    <a:pt x="959531" y="0"/>
                  </a:moveTo>
                  <a:cubicBezTo>
                    <a:pt x="1154831" y="0"/>
                    <a:pt x="1313152" y="128694"/>
                    <a:pt x="1313152" y="287446"/>
                  </a:cubicBezTo>
                  <a:cubicBezTo>
                    <a:pt x="1313152" y="308628"/>
                    <a:pt x="1310333" y="329275"/>
                    <a:pt x="1304790" y="349100"/>
                  </a:cubicBezTo>
                  <a:lnTo>
                    <a:pt x="1306444" y="348857"/>
                  </a:lnTo>
                  <a:lnTo>
                    <a:pt x="1303349" y="350370"/>
                  </a:lnTo>
                  <a:cubicBezTo>
                    <a:pt x="1317408" y="345309"/>
                    <a:pt x="1332485" y="343008"/>
                    <a:pt x="1348066" y="343008"/>
                  </a:cubicBezTo>
                  <a:cubicBezTo>
                    <a:pt x="1372851" y="343008"/>
                    <a:pt x="1396359" y="348829"/>
                    <a:pt x="1416985" y="360196"/>
                  </a:cubicBezTo>
                  <a:lnTo>
                    <a:pt x="1025621" y="543095"/>
                  </a:lnTo>
                  <a:lnTo>
                    <a:pt x="1025621" y="830357"/>
                  </a:lnTo>
                  <a:cubicBezTo>
                    <a:pt x="995938" y="851853"/>
                    <a:pt x="956252" y="864665"/>
                    <a:pt x="912744" y="864665"/>
                  </a:cubicBezTo>
                  <a:cubicBezTo>
                    <a:pt x="853713" y="864665"/>
                    <a:pt x="801718" y="841080"/>
                    <a:pt x="771359" y="805222"/>
                  </a:cubicBezTo>
                  <a:cubicBezTo>
                    <a:pt x="725550" y="863816"/>
                    <a:pt x="640297" y="902663"/>
                    <a:pt x="542838" y="902663"/>
                  </a:cubicBezTo>
                  <a:cubicBezTo>
                    <a:pt x="395508" y="902663"/>
                    <a:pt x="276072" y="813884"/>
                    <a:pt x="276072" y="704369"/>
                  </a:cubicBezTo>
                  <a:cubicBezTo>
                    <a:pt x="276091" y="704153"/>
                    <a:pt x="276111" y="703937"/>
                    <a:pt x="276131" y="703721"/>
                  </a:cubicBezTo>
                  <a:cubicBezTo>
                    <a:pt x="253502" y="711481"/>
                    <a:pt x="228753" y="715513"/>
                    <a:pt x="202872" y="715513"/>
                  </a:cubicBezTo>
                  <a:cubicBezTo>
                    <a:pt x="90829" y="715513"/>
                    <a:pt x="0" y="639927"/>
                    <a:pt x="0" y="546687"/>
                  </a:cubicBezTo>
                  <a:cubicBezTo>
                    <a:pt x="0" y="453447"/>
                    <a:pt x="90829" y="377862"/>
                    <a:pt x="202872" y="377862"/>
                  </a:cubicBezTo>
                  <a:lnTo>
                    <a:pt x="213315" y="378738"/>
                  </a:lnTo>
                  <a:cubicBezTo>
                    <a:pt x="203130" y="356806"/>
                    <a:pt x="197748" y="332866"/>
                    <a:pt x="197748" y="307867"/>
                  </a:cubicBezTo>
                  <a:cubicBezTo>
                    <a:pt x="197748" y="196084"/>
                    <a:pt x="305323" y="105466"/>
                    <a:pt x="438024" y="105466"/>
                  </a:cubicBezTo>
                  <a:cubicBezTo>
                    <a:pt x="516203" y="105466"/>
                    <a:pt x="585661" y="136918"/>
                    <a:pt x="628918" y="186182"/>
                  </a:cubicBezTo>
                  <a:cubicBezTo>
                    <a:pt x="678998" y="77315"/>
                    <a:pt x="808158" y="0"/>
                    <a:pt x="959531"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08380" rtl="0" eaLnBrk="1" latinLnBrk="0" hangingPunct="1">
                <a:defRPr sz="2400" kern="1200">
                  <a:solidFill>
                    <a:schemeClr val="lt1"/>
                  </a:solidFill>
                  <a:latin typeface="+mn-lt"/>
                  <a:ea typeface="+mn-ea"/>
                  <a:cs typeface="+mn-cs"/>
                </a:defRPr>
              </a:lvl1pPr>
              <a:lvl2pPr marL="604190" algn="l" defTabSz="1208380" rtl="0" eaLnBrk="1" latinLnBrk="0" hangingPunct="1">
                <a:defRPr sz="2400" kern="1200">
                  <a:solidFill>
                    <a:schemeClr val="lt1"/>
                  </a:solidFill>
                  <a:latin typeface="+mn-lt"/>
                  <a:ea typeface="+mn-ea"/>
                  <a:cs typeface="+mn-cs"/>
                </a:defRPr>
              </a:lvl2pPr>
              <a:lvl3pPr marL="1208380" algn="l" defTabSz="1208380" rtl="0" eaLnBrk="1" latinLnBrk="0" hangingPunct="1">
                <a:defRPr sz="2400" kern="1200">
                  <a:solidFill>
                    <a:schemeClr val="lt1"/>
                  </a:solidFill>
                  <a:latin typeface="+mn-lt"/>
                  <a:ea typeface="+mn-ea"/>
                  <a:cs typeface="+mn-cs"/>
                </a:defRPr>
              </a:lvl3pPr>
              <a:lvl4pPr marL="1812569" algn="l" defTabSz="1208380" rtl="0" eaLnBrk="1" latinLnBrk="0" hangingPunct="1">
                <a:defRPr sz="2400" kern="1200">
                  <a:solidFill>
                    <a:schemeClr val="lt1"/>
                  </a:solidFill>
                  <a:latin typeface="+mn-lt"/>
                  <a:ea typeface="+mn-ea"/>
                  <a:cs typeface="+mn-cs"/>
                </a:defRPr>
              </a:lvl4pPr>
              <a:lvl5pPr marL="2416759" algn="l" defTabSz="1208380" rtl="0" eaLnBrk="1" latinLnBrk="0" hangingPunct="1">
                <a:defRPr sz="2400" kern="1200">
                  <a:solidFill>
                    <a:schemeClr val="lt1"/>
                  </a:solidFill>
                  <a:latin typeface="+mn-lt"/>
                  <a:ea typeface="+mn-ea"/>
                  <a:cs typeface="+mn-cs"/>
                </a:defRPr>
              </a:lvl5pPr>
              <a:lvl6pPr marL="3020949" algn="l" defTabSz="1208380" rtl="0" eaLnBrk="1" latinLnBrk="0" hangingPunct="1">
                <a:defRPr sz="2400" kern="1200">
                  <a:solidFill>
                    <a:schemeClr val="lt1"/>
                  </a:solidFill>
                  <a:latin typeface="+mn-lt"/>
                  <a:ea typeface="+mn-ea"/>
                  <a:cs typeface="+mn-cs"/>
                </a:defRPr>
              </a:lvl6pPr>
              <a:lvl7pPr marL="3625139" algn="l" defTabSz="1208380" rtl="0" eaLnBrk="1" latinLnBrk="0" hangingPunct="1">
                <a:defRPr sz="2400" kern="1200">
                  <a:solidFill>
                    <a:schemeClr val="lt1"/>
                  </a:solidFill>
                  <a:latin typeface="+mn-lt"/>
                  <a:ea typeface="+mn-ea"/>
                  <a:cs typeface="+mn-cs"/>
                </a:defRPr>
              </a:lvl7pPr>
              <a:lvl8pPr marL="4229329" algn="l" defTabSz="1208380" rtl="0" eaLnBrk="1" latinLnBrk="0" hangingPunct="1">
                <a:defRPr sz="2400" kern="1200">
                  <a:solidFill>
                    <a:schemeClr val="lt1"/>
                  </a:solidFill>
                  <a:latin typeface="+mn-lt"/>
                  <a:ea typeface="+mn-ea"/>
                  <a:cs typeface="+mn-cs"/>
                </a:defRPr>
              </a:lvl8pPr>
              <a:lvl9pPr marL="4833518" algn="l" defTabSz="1208380" rtl="0" eaLnBrk="1" latinLnBrk="0" hangingPunct="1">
                <a:defRPr sz="2400" kern="1200">
                  <a:solidFill>
                    <a:schemeClr val="lt1"/>
                  </a:solidFill>
                  <a:latin typeface="+mn-lt"/>
                  <a:ea typeface="+mn-ea"/>
                  <a:cs typeface="+mn-cs"/>
                </a:defRPr>
              </a:lvl9pPr>
            </a:lstStyle>
            <a:p>
              <a:pPr algn="ctr" defTabSz="932404"/>
              <a:endParaRPr lang="en-US" sz="1800">
                <a:ln>
                  <a:solidFill>
                    <a:srgbClr val="FFFFFF">
                      <a:alpha val="0"/>
                    </a:srgbClr>
                  </a:solidFill>
                </a:ln>
                <a:solidFill>
                  <a:srgbClr val="FFFFFF"/>
                </a:solidFill>
              </a:endParaRPr>
            </a:p>
          </p:txBody>
        </p:sp>
        <p:sp>
          <p:nvSpPr>
            <p:cNvPr id="19" name="Freeform 18"/>
            <p:cNvSpPr/>
            <p:nvPr/>
          </p:nvSpPr>
          <p:spPr>
            <a:xfrm>
              <a:off x="2002386" y="2923699"/>
              <a:ext cx="863597" cy="686751"/>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1208380" rtl="0" eaLnBrk="1" latinLnBrk="0" hangingPunct="1">
                <a:defRPr sz="2400" kern="1200">
                  <a:solidFill>
                    <a:schemeClr val="lt1"/>
                  </a:solidFill>
                  <a:latin typeface="+mn-lt"/>
                  <a:ea typeface="+mn-ea"/>
                  <a:cs typeface="+mn-cs"/>
                </a:defRPr>
              </a:lvl1pPr>
              <a:lvl2pPr marL="604190" algn="l" defTabSz="1208380" rtl="0" eaLnBrk="1" latinLnBrk="0" hangingPunct="1">
                <a:defRPr sz="2400" kern="1200">
                  <a:solidFill>
                    <a:schemeClr val="lt1"/>
                  </a:solidFill>
                  <a:latin typeface="+mn-lt"/>
                  <a:ea typeface="+mn-ea"/>
                  <a:cs typeface="+mn-cs"/>
                </a:defRPr>
              </a:lvl2pPr>
              <a:lvl3pPr marL="1208380" algn="l" defTabSz="1208380" rtl="0" eaLnBrk="1" latinLnBrk="0" hangingPunct="1">
                <a:defRPr sz="2400" kern="1200">
                  <a:solidFill>
                    <a:schemeClr val="lt1"/>
                  </a:solidFill>
                  <a:latin typeface="+mn-lt"/>
                  <a:ea typeface="+mn-ea"/>
                  <a:cs typeface="+mn-cs"/>
                </a:defRPr>
              </a:lvl3pPr>
              <a:lvl4pPr marL="1812569" algn="l" defTabSz="1208380" rtl="0" eaLnBrk="1" latinLnBrk="0" hangingPunct="1">
                <a:defRPr sz="2400" kern="1200">
                  <a:solidFill>
                    <a:schemeClr val="lt1"/>
                  </a:solidFill>
                  <a:latin typeface="+mn-lt"/>
                  <a:ea typeface="+mn-ea"/>
                  <a:cs typeface="+mn-cs"/>
                </a:defRPr>
              </a:lvl4pPr>
              <a:lvl5pPr marL="2416759" algn="l" defTabSz="1208380" rtl="0" eaLnBrk="1" latinLnBrk="0" hangingPunct="1">
                <a:defRPr sz="2400" kern="1200">
                  <a:solidFill>
                    <a:schemeClr val="lt1"/>
                  </a:solidFill>
                  <a:latin typeface="+mn-lt"/>
                  <a:ea typeface="+mn-ea"/>
                  <a:cs typeface="+mn-cs"/>
                </a:defRPr>
              </a:lvl5pPr>
              <a:lvl6pPr marL="3020949" algn="l" defTabSz="1208380" rtl="0" eaLnBrk="1" latinLnBrk="0" hangingPunct="1">
                <a:defRPr sz="2400" kern="1200">
                  <a:solidFill>
                    <a:schemeClr val="lt1"/>
                  </a:solidFill>
                  <a:latin typeface="+mn-lt"/>
                  <a:ea typeface="+mn-ea"/>
                  <a:cs typeface="+mn-cs"/>
                </a:defRPr>
              </a:lvl6pPr>
              <a:lvl7pPr marL="3625139" algn="l" defTabSz="1208380" rtl="0" eaLnBrk="1" latinLnBrk="0" hangingPunct="1">
                <a:defRPr sz="2400" kern="1200">
                  <a:solidFill>
                    <a:schemeClr val="lt1"/>
                  </a:solidFill>
                  <a:latin typeface="+mn-lt"/>
                  <a:ea typeface="+mn-ea"/>
                  <a:cs typeface="+mn-cs"/>
                </a:defRPr>
              </a:lvl7pPr>
              <a:lvl8pPr marL="4229329" algn="l" defTabSz="1208380" rtl="0" eaLnBrk="1" latinLnBrk="0" hangingPunct="1">
                <a:defRPr sz="2400" kern="1200">
                  <a:solidFill>
                    <a:schemeClr val="lt1"/>
                  </a:solidFill>
                  <a:latin typeface="+mn-lt"/>
                  <a:ea typeface="+mn-ea"/>
                  <a:cs typeface="+mn-cs"/>
                </a:defRPr>
              </a:lvl8pPr>
              <a:lvl9pPr marL="4833518" algn="l" defTabSz="1208380" rtl="0" eaLnBrk="1" latinLnBrk="0" hangingPunct="1">
                <a:defRPr sz="2400" kern="1200">
                  <a:solidFill>
                    <a:schemeClr val="lt1"/>
                  </a:solidFill>
                  <a:latin typeface="+mn-lt"/>
                  <a:ea typeface="+mn-ea"/>
                  <a:cs typeface="+mn-cs"/>
                </a:defRPr>
              </a:lvl9pPr>
            </a:lstStyle>
            <a:p>
              <a:pPr algn="ctr" defTabSz="914002" fontAlgn="base">
                <a:spcBef>
                  <a:spcPct val="0"/>
                </a:spcBef>
                <a:spcAft>
                  <a:spcPct val="0"/>
                </a:spcAft>
              </a:pPr>
              <a:endParaRPr lang="en-US" sz="1800" spc="-50" dirty="0" err="1">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grpSp>
      <p:sp>
        <p:nvSpPr>
          <p:cNvPr id="20" name="Freeform 19"/>
          <p:cNvSpPr/>
          <p:nvPr/>
        </p:nvSpPr>
        <p:spPr bwMode="auto">
          <a:xfrm>
            <a:off x="9800542" y="3585895"/>
            <a:ext cx="1184957" cy="1040189"/>
          </a:xfrm>
          <a:custGeom>
            <a:avLst/>
            <a:gdLst/>
            <a:ahLst/>
            <a:cxnLst/>
            <a:rect l="l" t="t" r="r" b="b"/>
            <a:pathLst>
              <a:path w="5421630" h="5097780">
                <a:moveTo>
                  <a:pt x="0" y="114300"/>
                </a:moveTo>
                <a:lnTo>
                  <a:pt x="480060" y="114300"/>
                </a:lnTo>
                <a:lnTo>
                  <a:pt x="480060" y="4617719"/>
                </a:lnTo>
                <a:lnTo>
                  <a:pt x="5421630" y="4617719"/>
                </a:lnTo>
                <a:lnTo>
                  <a:pt x="5421630" y="5097779"/>
                </a:lnTo>
                <a:lnTo>
                  <a:pt x="480060" y="5097779"/>
                </a:lnTo>
                <a:lnTo>
                  <a:pt x="480060" y="5097780"/>
                </a:lnTo>
                <a:lnTo>
                  <a:pt x="0" y="5097780"/>
                </a:lnTo>
                <a:lnTo>
                  <a:pt x="0" y="5097779"/>
                </a:lnTo>
                <a:lnTo>
                  <a:pt x="0" y="4617719"/>
                </a:lnTo>
                <a:close/>
                <a:moveTo>
                  <a:pt x="4857750" y="0"/>
                </a:moveTo>
                <a:lnTo>
                  <a:pt x="4819650" y="1341120"/>
                </a:lnTo>
                <a:lnTo>
                  <a:pt x="4537710" y="906780"/>
                </a:lnTo>
                <a:lnTo>
                  <a:pt x="3638550" y="2133600"/>
                </a:lnTo>
                <a:lnTo>
                  <a:pt x="2625090" y="2133600"/>
                </a:lnTo>
                <a:lnTo>
                  <a:pt x="2228850" y="4457700"/>
                </a:lnTo>
                <a:lnTo>
                  <a:pt x="1649730" y="3611880"/>
                </a:lnTo>
                <a:lnTo>
                  <a:pt x="948690" y="4320540"/>
                </a:lnTo>
                <a:lnTo>
                  <a:pt x="643890" y="4008120"/>
                </a:lnTo>
                <a:lnTo>
                  <a:pt x="1725930" y="2948940"/>
                </a:lnTo>
                <a:lnTo>
                  <a:pt x="2000250" y="3345180"/>
                </a:lnTo>
                <a:lnTo>
                  <a:pt x="2274570" y="1714500"/>
                </a:lnTo>
                <a:lnTo>
                  <a:pt x="3440430" y="1706880"/>
                </a:lnTo>
                <a:lnTo>
                  <a:pt x="4217670" y="655320"/>
                </a:lnTo>
                <a:lnTo>
                  <a:pt x="3638550" y="55626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p:cNvGrpSpPr>
            <a:grpSpLocks noChangeAspect="1"/>
          </p:cNvGrpSpPr>
          <p:nvPr>
            <p:custDataLst>
              <p:tags r:id="rId1"/>
            </p:custDataLst>
          </p:nvPr>
        </p:nvGrpSpPr>
        <p:grpSpPr>
          <a:xfrm>
            <a:off x="10765970" y="3888811"/>
            <a:ext cx="575415" cy="617639"/>
            <a:chOff x="377825" y="1184276"/>
            <a:chExt cx="1020763" cy="1325563"/>
          </a:xfrm>
          <a:solidFill>
            <a:schemeClr val="bg1"/>
          </a:solidFill>
        </p:grpSpPr>
        <p:sp>
          <p:nvSpPr>
            <p:cNvPr id="22"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443"/>
              <a:endParaRPr lang="en-US" sz="1836" dirty="0">
                <a:solidFill>
                  <a:srgbClr val="FFFFFF"/>
                </a:solidFill>
              </a:endParaRPr>
            </a:p>
          </p:txBody>
        </p:sp>
        <p:sp>
          <p:nvSpPr>
            <p:cNvPr id="23"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443"/>
              <a:endParaRPr lang="en-US" sz="1836" dirty="0">
                <a:solidFill>
                  <a:srgbClr val="FFFFFF"/>
                </a:solidFill>
              </a:endParaRPr>
            </a:p>
          </p:txBody>
        </p:sp>
      </p:grpSp>
    </p:spTree>
    <p:extLst>
      <p:ext uri="{BB962C8B-B14F-4D97-AF65-F5344CB8AC3E}">
        <p14:creationId xmlns:p14="http://schemas.microsoft.com/office/powerpoint/2010/main" val="1877499503"/>
      </p:ext>
    </p:extLst>
  </p:cSld>
  <p:clrMapOvr>
    <a:masterClrMapping/>
  </p:clrMapOvr>
  <p:transition spd="slow" advTm="4076">
    <p:cove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2274" y="165439"/>
            <a:ext cx="11247040" cy="657556"/>
          </a:xfrm>
        </p:spPr>
        <p:txBody>
          <a:bodyPr/>
          <a:lstStyle/>
          <a:p>
            <a:r>
              <a:rPr lang="fr-FR" b="1" dirty="0" smtClean="0"/>
              <a:t>Merci à nos sponsors</a:t>
            </a:r>
            <a:endParaRPr lang="fr-FR" b="1" dirty="0"/>
          </a:p>
        </p:txBody>
      </p:sp>
      <p:pic>
        <p:nvPicPr>
          <p:cNvPr id="3" name="Picture 2"/>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51874" y="822995"/>
            <a:ext cx="9718589" cy="5214580"/>
          </a:xfrm>
          <a:prstGeom prst="rect">
            <a:avLst/>
          </a:prstGeom>
        </p:spPr>
      </p:pic>
    </p:spTree>
    <p:extLst>
      <p:ext uri="{BB962C8B-B14F-4D97-AF65-F5344CB8AC3E}">
        <p14:creationId xmlns:p14="http://schemas.microsoft.com/office/powerpoint/2010/main" val="4164165361"/>
      </p:ext>
    </p:extLst>
  </p:cSld>
  <p:clrMapOvr>
    <a:masterClrMapping/>
  </p:clrMapOvr>
  <p:transition spd="slow">
    <p:cove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998435" y="2430017"/>
            <a:ext cx="6195130" cy="1997966"/>
          </a:xfrm>
          <a:prstGeom prst="rect">
            <a:avLst/>
          </a:prstGeom>
        </p:spPr>
      </p:pic>
    </p:spTree>
    <p:extLst>
      <p:ext uri="{BB962C8B-B14F-4D97-AF65-F5344CB8AC3E}">
        <p14:creationId xmlns:p14="http://schemas.microsoft.com/office/powerpoint/2010/main" val="2024295345"/>
      </p:ext>
    </p:extLst>
  </p:cSld>
  <p:clrMapOvr>
    <a:masterClrMapping/>
  </p:clrMapOvr>
  <p:transition spd="slow">
    <p:cove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09599" y="2999232"/>
            <a:ext cx="8111067" cy="1692771"/>
          </a:xfrm>
          <a:prstGeom prst="rect">
            <a:avLst/>
          </a:prstGeom>
          <a:noFill/>
        </p:spPr>
        <p:txBody>
          <a:bodyPr wrap="square" rtlCol="0">
            <a:spAutoFit/>
          </a:bodyPr>
          <a:lstStyle/>
          <a:p>
            <a:r>
              <a:rPr lang="fr-FR" sz="4800" dirty="0" smtClean="0">
                <a:solidFill>
                  <a:schemeClr val="bg1"/>
                </a:solidFill>
              </a:rPr>
              <a:t>10 ans de DBA</a:t>
            </a:r>
          </a:p>
          <a:p>
            <a:pPr marL="268288"/>
            <a:r>
              <a:rPr lang="fr-FR" sz="2800" dirty="0" smtClean="0">
                <a:solidFill>
                  <a:schemeClr val="bg1"/>
                </a:solidFill>
              </a:rPr>
              <a:t>Sham UNMAR</a:t>
            </a:r>
          </a:p>
          <a:p>
            <a:pPr marL="268288"/>
            <a:r>
              <a:rPr lang="fr-FR" sz="2800" dirty="0" smtClean="0">
                <a:solidFill>
                  <a:schemeClr val="bg1"/>
                </a:solidFill>
              </a:rPr>
              <a:t>Philippe PIMENTA</a:t>
            </a:r>
            <a:endParaRPr lang="fr-FR" sz="2800" dirty="0">
              <a:solidFill>
                <a:schemeClr val="bg1"/>
              </a:solidFill>
            </a:endParaRPr>
          </a:p>
        </p:txBody>
      </p:sp>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0682" y="4850452"/>
            <a:ext cx="2194598" cy="639452"/>
          </a:xfrm>
          <a:prstGeom prst="rect">
            <a:avLst/>
          </a:prstGeom>
        </p:spPr>
      </p:pic>
    </p:spTree>
    <p:extLst>
      <p:ext uri="{BB962C8B-B14F-4D97-AF65-F5344CB8AC3E}">
        <p14:creationId xmlns:p14="http://schemas.microsoft.com/office/powerpoint/2010/main" val="889881531"/>
      </p:ext>
    </p:extLst>
  </p:cSld>
  <p:clrMapOvr>
    <a:masterClrMapping/>
  </p:clrMapOvr>
  <p:transition spd="slow" advTm="5">
    <p:cove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b="1" dirty="0">
                <a:latin typeface="Segoe UI Semibold" pitchFamily="34" charset="0"/>
              </a:rPr>
              <a:t>WAISSO</a:t>
            </a:r>
            <a:endParaRPr lang="fr-FR"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2448" y="5773423"/>
            <a:ext cx="2232248" cy="4863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Imag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78687" y="5677671"/>
            <a:ext cx="918224" cy="677860"/>
          </a:xfrm>
          <a:prstGeom prst="rect">
            <a:avLst/>
          </a:prstGeom>
        </p:spPr>
      </p:pic>
      <p:pic>
        <p:nvPicPr>
          <p:cNvPr id="7" name="Image 6" descr="Description : Description : Description : C:\Travail\WAISSO\Avant-vente\Logos_CertMS\2011\ToutesCompetences_FRA.jpg"/>
          <p:cNvPicPr/>
          <p:nvPr/>
        </p:nvPicPr>
        <p:blipFill>
          <a:blip r:embed="rId4">
            <a:extLst>
              <a:ext uri="{28A0092B-C50C-407E-A947-70E740481C1C}">
                <a14:useLocalDpi xmlns:a14="http://schemas.microsoft.com/office/drawing/2010/main" val="0"/>
              </a:ext>
            </a:extLst>
          </a:blip>
          <a:srcRect/>
          <a:stretch>
            <a:fillRect/>
          </a:stretch>
        </p:blipFill>
        <p:spPr bwMode="auto">
          <a:xfrm>
            <a:off x="9078687" y="3365730"/>
            <a:ext cx="2777956" cy="1218636"/>
          </a:xfrm>
          <a:prstGeom prst="rect">
            <a:avLst/>
          </a:prstGeom>
          <a:noFill/>
          <a:ln>
            <a:noFill/>
          </a:ln>
        </p:spPr>
      </p:pic>
      <p:sp>
        <p:nvSpPr>
          <p:cNvPr id="8" name="ZoneTexte 7"/>
          <p:cNvSpPr txBox="1"/>
          <p:nvPr/>
        </p:nvSpPr>
        <p:spPr>
          <a:xfrm>
            <a:off x="178874" y="1321704"/>
            <a:ext cx="3244615" cy="2339102"/>
          </a:xfrm>
          <a:prstGeom prst="rect">
            <a:avLst/>
          </a:prstGeom>
          <a:noFill/>
        </p:spPr>
        <p:txBody>
          <a:bodyPr wrap="square" rtlCol="0">
            <a:spAutoFit/>
          </a:bodyPr>
          <a:lstStyle/>
          <a:p>
            <a:r>
              <a:rPr lang="fr-FR" dirty="0" smtClean="0">
                <a:solidFill>
                  <a:srgbClr val="FF0000"/>
                </a:solidFill>
              </a:rPr>
              <a:t>Base de données :</a:t>
            </a:r>
            <a:r>
              <a:rPr lang="fr-FR" b="1" dirty="0" smtClean="0"/>
              <a:t> </a:t>
            </a:r>
          </a:p>
          <a:p>
            <a:pPr marL="285750" indent="-285750">
              <a:buFont typeface="Arial" pitchFamily="34" charset="0"/>
              <a:buChar char="•"/>
            </a:pPr>
            <a:r>
              <a:rPr lang="fr-FR" sz="1600" dirty="0" smtClean="0"/>
              <a:t>Audit et expertise </a:t>
            </a:r>
          </a:p>
          <a:p>
            <a:pPr marL="285750" indent="-285750">
              <a:buFont typeface="Arial" pitchFamily="34" charset="0"/>
              <a:buChar char="•"/>
            </a:pPr>
            <a:r>
              <a:rPr lang="fr-FR" sz="1600" dirty="0" smtClean="0"/>
              <a:t>Optimisation du code</a:t>
            </a:r>
          </a:p>
          <a:p>
            <a:pPr marL="285750" indent="-285750">
              <a:buFont typeface="Arial" pitchFamily="34" charset="0"/>
              <a:buChar char="•"/>
            </a:pPr>
            <a:r>
              <a:rPr lang="fr-FR" sz="1600" dirty="0" smtClean="0"/>
              <a:t>Tuning de serveur</a:t>
            </a:r>
          </a:p>
          <a:p>
            <a:pPr marL="285750" indent="-285750">
              <a:buFont typeface="Arial" pitchFamily="34" charset="0"/>
              <a:buChar char="•"/>
            </a:pPr>
            <a:r>
              <a:rPr lang="fr-FR" sz="1600" dirty="0" smtClean="0"/>
              <a:t>Mise en haute-disponibilité</a:t>
            </a:r>
          </a:p>
          <a:p>
            <a:pPr marL="285750" indent="-285750">
              <a:buFont typeface="Arial" pitchFamily="34" charset="0"/>
              <a:buChar char="•"/>
            </a:pPr>
            <a:r>
              <a:rPr lang="fr-FR" sz="1600" dirty="0" smtClean="0"/>
              <a:t>Projet technique</a:t>
            </a:r>
          </a:p>
          <a:p>
            <a:pPr marL="285750" indent="-285750">
              <a:buFont typeface="Arial" pitchFamily="34" charset="0"/>
              <a:buChar char="•"/>
            </a:pPr>
            <a:r>
              <a:rPr lang="fr-FR" sz="1600" dirty="0" smtClean="0"/>
              <a:t>Projet d’infrastructure</a:t>
            </a:r>
          </a:p>
          <a:p>
            <a:pPr marL="285750" indent="-285750">
              <a:buFont typeface="Arial" pitchFamily="34" charset="0"/>
              <a:buChar char="•"/>
            </a:pPr>
            <a:r>
              <a:rPr lang="fr-FR" sz="1600" dirty="0" smtClean="0"/>
              <a:t>Migration</a:t>
            </a:r>
          </a:p>
          <a:p>
            <a:pPr marL="285750" indent="-285750">
              <a:buFont typeface="Arial" pitchFamily="34" charset="0"/>
              <a:buChar char="•"/>
            </a:pPr>
            <a:r>
              <a:rPr lang="fr-FR" sz="1600" dirty="0" smtClean="0"/>
              <a:t>Délégation de DBA</a:t>
            </a:r>
          </a:p>
        </p:txBody>
      </p:sp>
      <p:sp>
        <p:nvSpPr>
          <p:cNvPr id="9" name="ZoneTexte 8"/>
          <p:cNvSpPr txBox="1"/>
          <p:nvPr/>
        </p:nvSpPr>
        <p:spPr>
          <a:xfrm>
            <a:off x="2913312" y="4320154"/>
            <a:ext cx="3672408" cy="1846659"/>
          </a:xfrm>
          <a:prstGeom prst="rect">
            <a:avLst/>
          </a:prstGeom>
          <a:noFill/>
        </p:spPr>
        <p:txBody>
          <a:bodyPr wrap="square" rtlCol="0">
            <a:spAutoFit/>
          </a:bodyPr>
          <a:lstStyle/>
          <a:p>
            <a:r>
              <a:rPr lang="fr-FR" dirty="0" smtClean="0">
                <a:solidFill>
                  <a:srgbClr val="FF0000"/>
                </a:solidFill>
              </a:rPr>
              <a:t>Décisionnel et Collaboratif : </a:t>
            </a:r>
          </a:p>
          <a:p>
            <a:pPr marL="285750" indent="-285750">
              <a:buFont typeface="Arial" pitchFamily="34" charset="0"/>
              <a:buChar char="•"/>
            </a:pPr>
            <a:r>
              <a:rPr lang="fr-FR" sz="1600" dirty="0" smtClean="0"/>
              <a:t>Audit et expertise technique</a:t>
            </a:r>
          </a:p>
          <a:p>
            <a:pPr marL="285750" indent="-285750">
              <a:buFont typeface="Arial" pitchFamily="34" charset="0"/>
              <a:buChar char="•"/>
            </a:pPr>
            <a:r>
              <a:rPr lang="fr-FR" sz="1600" dirty="0" smtClean="0"/>
              <a:t>Etude de cadrage</a:t>
            </a:r>
          </a:p>
          <a:p>
            <a:pPr marL="285750" indent="-285750">
              <a:buFont typeface="Arial" pitchFamily="34" charset="0"/>
              <a:buChar char="•"/>
            </a:pPr>
            <a:r>
              <a:rPr lang="fr-FR" sz="1600" dirty="0" smtClean="0"/>
              <a:t>Création de datamart client</a:t>
            </a:r>
          </a:p>
          <a:p>
            <a:pPr marL="285750" indent="-285750">
              <a:buFont typeface="Arial" pitchFamily="34" charset="0"/>
              <a:buChar char="•"/>
            </a:pPr>
            <a:r>
              <a:rPr lang="fr-FR" sz="1600" dirty="0" smtClean="0"/>
              <a:t>Intégration MS BI (SSIS, SSAS, SSRS…)</a:t>
            </a:r>
          </a:p>
          <a:p>
            <a:pPr marL="285750" indent="-285750">
              <a:buFont typeface="Arial" pitchFamily="34" charset="0"/>
              <a:buChar char="•"/>
            </a:pPr>
            <a:r>
              <a:rPr lang="fr-FR" sz="1600" dirty="0" smtClean="0"/>
              <a:t>Intégration SharePoint</a:t>
            </a:r>
          </a:p>
          <a:p>
            <a:pPr marL="285750" indent="-285750">
              <a:buFont typeface="Arial" pitchFamily="34" charset="0"/>
              <a:buChar char="•"/>
            </a:pPr>
            <a:r>
              <a:rPr lang="fr-FR" sz="1600" dirty="0" smtClean="0"/>
              <a:t>TMA</a:t>
            </a:r>
            <a:endParaRPr lang="fr-FR" dirty="0"/>
          </a:p>
        </p:txBody>
      </p:sp>
      <p:pic>
        <p:nvPicPr>
          <p:cNvPr id="10" name="Picture 2" descr="http://gregoire-saintenac.fr/wp-content/uploads/2011/08/CRM4.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83381" y="377964"/>
            <a:ext cx="1818972" cy="1364228"/>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p:cNvSpPr txBox="1"/>
          <p:nvPr/>
        </p:nvSpPr>
        <p:spPr>
          <a:xfrm>
            <a:off x="7432485" y="454668"/>
            <a:ext cx="2664296" cy="2369880"/>
          </a:xfrm>
          <a:prstGeom prst="rect">
            <a:avLst/>
          </a:prstGeom>
          <a:noFill/>
        </p:spPr>
        <p:txBody>
          <a:bodyPr wrap="square" rtlCol="0">
            <a:spAutoFit/>
          </a:bodyPr>
          <a:lstStyle/>
          <a:p>
            <a:r>
              <a:rPr lang="fr-FR" dirty="0" smtClean="0">
                <a:solidFill>
                  <a:srgbClr val="FF0000"/>
                </a:solidFill>
              </a:rPr>
              <a:t>CRM et Marketing : </a:t>
            </a:r>
          </a:p>
          <a:p>
            <a:pPr marL="285750" indent="-285750">
              <a:buFont typeface="Arial" pitchFamily="34" charset="0"/>
              <a:buChar char="•"/>
            </a:pPr>
            <a:r>
              <a:rPr lang="fr-FR" sz="1600" dirty="0" smtClean="0"/>
              <a:t>Etude de cadrage</a:t>
            </a:r>
          </a:p>
          <a:p>
            <a:pPr marL="285750" indent="-285750">
              <a:buFont typeface="Arial" pitchFamily="34" charset="0"/>
              <a:buChar char="•"/>
            </a:pPr>
            <a:r>
              <a:rPr lang="fr-FR" sz="1600" dirty="0" smtClean="0"/>
              <a:t>Cahier des charges</a:t>
            </a:r>
          </a:p>
          <a:p>
            <a:pPr marL="285750" indent="-285750">
              <a:buFont typeface="Arial" pitchFamily="34" charset="0"/>
              <a:buChar char="•"/>
            </a:pPr>
            <a:r>
              <a:rPr lang="fr-FR" sz="1600" dirty="0" smtClean="0"/>
              <a:t>Développement d’</a:t>
            </a:r>
            <a:r>
              <a:rPr lang="fr-FR" sz="1600" dirty="0" err="1" smtClean="0"/>
              <a:t>add-on</a:t>
            </a:r>
            <a:endParaRPr lang="fr-FR" sz="1600" dirty="0" smtClean="0"/>
          </a:p>
          <a:p>
            <a:pPr marL="285750" indent="-285750">
              <a:buFont typeface="Arial" pitchFamily="34" charset="0"/>
              <a:buChar char="•"/>
            </a:pPr>
            <a:r>
              <a:rPr lang="fr-FR" sz="1600" dirty="0" smtClean="0"/>
              <a:t>Intégration MS Dynamics</a:t>
            </a:r>
          </a:p>
          <a:p>
            <a:pPr marL="285750" indent="-285750">
              <a:buFont typeface="Arial" pitchFamily="34" charset="0"/>
              <a:buChar char="•"/>
            </a:pPr>
            <a:r>
              <a:rPr lang="fr-FR" sz="1600" dirty="0" smtClean="0"/>
              <a:t>Intégration Neolane</a:t>
            </a:r>
          </a:p>
          <a:p>
            <a:pPr marL="285750" indent="-285750">
              <a:buFont typeface="Arial" pitchFamily="34" charset="0"/>
              <a:buChar char="•"/>
            </a:pPr>
            <a:r>
              <a:rPr lang="fr-FR" sz="1600" dirty="0" smtClean="0"/>
              <a:t>Gestion de la qualité des données </a:t>
            </a:r>
          </a:p>
          <a:p>
            <a:endParaRPr lang="fr-FR" dirty="0"/>
          </a:p>
        </p:txBody>
      </p:sp>
      <p:grpSp>
        <p:nvGrpSpPr>
          <p:cNvPr id="12" name="Groupe 12"/>
          <p:cNvGrpSpPr>
            <a:grpSpLocks noChangeAspect="1"/>
          </p:cNvGrpSpPr>
          <p:nvPr/>
        </p:nvGrpSpPr>
        <p:grpSpPr bwMode="auto">
          <a:xfrm>
            <a:off x="3506337" y="979161"/>
            <a:ext cx="3171825" cy="3024187"/>
            <a:chOff x="2786050" y="2428868"/>
            <a:chExt cx="3333750" cy="3209939"/>
          </a:xfrm>
        </p:grpSpPr>
        <p:pic>
          <p:nvPicPr>
            <p:cNvPr id="13" name="Picture 3" descr="http://www.waisso.com/img/activites_valoriser.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94211" y="2428868"/>
              <a:ext cx="1724025" cy="20002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4" descr="http://www.waisso.com/img/activites_exploiter.gi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86050" y="4429132"/>
              <a:ext cx="3333750" cy="120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http://www.waisso.com/img/activites_gerer.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86050" y="2428868"/>
              <a:ext cx="1609725" cy="2000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6" name="il_fi" descr="http://bostinnovation.com/wp-content/uploads/2011/05/neolanelogo.png"/>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096782" y="1639608"/>
            <a:ext cx="1835242" cy="709145"/>
          </a:xfrm>
          <a:prstGeom prst="rect">
            <a:avLst/>
          </a:prstGeom>
          <a:noFill/>
          <a:ln>
            <a:noFill/>
          </a:ln>
        </p:spPr>
      </p:pic>
      <p:pic>
        <p:nvPicPr>
          <p:cNvPr id="17" name="il_fi" descr="http://www.solutionsdevco.com/images/services/sql-server-logo.png"/>
          <p:cNvPicPr/>
          <p:nvPr/>
        </p:nvPicPr>
        <p:blipFill>
          <a:blip r:embed="rId10">
            <a:extLst>
              <a:ext uri="{28A0092B-C50C-407E-A947-70E740481C1C}">
                <a14:useLocalDpi xmlns:a14="http://schemas.microsoft.com/office/drawing/2010/main" val="0"/>
              </a:ext>
            </a:extLst>
          </a:blip>
          <a:srcRect/>
          <a:stretch>
            <a:fillRect/>
          </a:stretch>
        </p:blipFill>
        <p:spPr bwMode="auto">
          <a:xfrm>
            <a:off x="160220" y="3794193"/>
            <a:ext cx="2636768" cy="873552"/>
          </a:xfrm>
          <a:prstGeom prst="rect">
            <a:avLst/>
          </a:prstGeom>
          <a:noFill/>
          <a:ln>
            <a:noFill/>
          </a:ln>
        </p:spPr>
      </p:pic>
      <p:pic>
        <p:nvPicPr>
          <p:cNvPr id="1026" name="Picture 2" descr="C:\Travail\WAISSO\Editeurs et produits\Microsoft\MS_rgb_ShrPt_Cyan300.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197056" y="4667745"/>
            <a:ext cx="2677536" cy="8511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5534277"/>
      </p:ext>
    </p:extLst>
  </p:cSld>
  <p:clrMapOvr>
    <a:masterClrMapping/>
  </p:clrMapOvr>
  <p:transition spd="slow">
    <p:cove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10 ans de DBA…</a:t>
            </a:r>
            <a:endParaRPr lang="fr-FR" dirty="0"/>
          </a:p>
        </p:txBody>
      </p:sp>
      <p:sp>
        <p:nvSpPr>
          <p:cNvPr id="6" name="Rectangle 5"/>
          <p:cNvSpPr/>
          <p:nvPr/>
        </p:nvSpPr>
        <p:spPr>
          <a:xfrm>
            <a:off x="466370" y="1110983"/>
            <a:ext cx="5943600" cy="1548000"/>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dirty="0" smtClean="0"/>
              <a:t>Evolutions du métier de DBA</a:t>
            </a:r>
            <a:endParaRPr lang="fr-FR" sz="2400" dirty="0"/>
          </a:p>
        </p:txBody>
      </p:sp>
      <p:sp>
        <p:nvSpPr>
          <p:cNvPr id="7" name="Rectangle 6"/>
          <p:cNvSpPr/>
          <p:nvPr/>
        </p:nvSpPr>
        <p:spPr>
          <a:xfrm>
            <a:off x="466371" y="2699990"/>
            <a:ext cx="5943437" cy="15480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dirty="0" smtClean="0"/>
              <a:t>Outils</a:t>
            </a:r>
            <a:endParaRPr lang="fr-FR" sz="2400" dirty="0"/>
          </a:p>
        </p:txBody>
      </p:sp>
      <p:sp>
        <p:nvSpPr>
          <p:cNvPr id="8" name="Rectangle 7"/>
          <p:cNvSpPr/>
          <p:nvPr/>
        </p:nvSpPr>
        <p:spPr>
          <a:xfrm>
            <a:off x="466372" y="4305299"/>
            <a:ext cx="5943436" cy="1548000"/>
          </a:xfrm>
          <a:prstGeom prst="rect">
            <a:avLst/>
          </a:pr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dirty="0" smtClean="0"/>
              <a:t>Perspectives</a:t>
            </a:r>
            <a:endParaRPr lang="fr-FR" sz="2400" dirty="0"/>
          </a:p>
        </p:txBody>
      </p:sp>
      <p:sp>
        <p:nvSpPr>
          <p:cNvPr id="9" name="Rectangle 8"/>
          <p:cNvSpPr/>
          <p:nvPr/>
        </p:nvSpPr>
        <p:spPr>
          <a:xfrm>
            <a:off x="6506187" y="1100097"/>
            <a:ext cx="2440550" cy="2347200"/>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2400" dirty="0" smtClean="0"/>
              <a:t>Volumétrie, Puissance de calcul</a:t>
            </a:r>
            <a:endParaRPr lang="fr-FR" sz="2400" dirty="0"/>
          </a:p>
        </p:txBody>
      </p:sp>
      <p:sp>
        <p:nvSpPr>
          <p:cNvPr id="10" name="Rectangle 9"/>
          <p:cNvSpPr/>
          <p:nvPr/>
        </p:nvSpPr>
        <p:spPr>
          <a:xfrm>
            <a:off x="9027887" y="1100097"/>
            <a:ext cx="2440550" cy="23472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2400" dirty="0" smtClean="0"/>
              <a:t>Haute disponibilité, PRA</a:t>
            </a:r>
            <a:endParaRPr lang="fr-FR" sz="2400" dirty="0"/>
          </a:p>
        </p:txBody>
      </p:sp>
      <p:sp>
        <p:nvSpPr>
          <p:cNvPr id="11" name="Rectangle 10"/>
          <p:cNvSpPr/>
          <p:nvPr/>
        </p:nvSpPr>
        <p:spPr>
          <a:xfrm>
            <a:off x="6506187" y="3504719"/>
            <a:ext cx="2440550" cy="2347200"/>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2400" dirty="0" smtClean="0"/>
              <a:t>Sécurité</a:t>
            </a:r>
            <a:endParaRPr lang="fr-FR" sz="2400" dirty="0"/>
          </a:p>
        </p:txBody>
      </p:sp>
      <p:sp>
        <p:nvSpPr>
          <p:cNvPr id="13" name="Rectangle 12"/>
          <p:cNvSpPr/>
          <p:nvPr/>
        </p:nvSpPr>
        <p:spPr>
          <a:xfrm>
            <a:off x="9027887" y="3504719"/>
            <a:ext cx="2440550" cy="23472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2400" dirty="0" smtClean="0"/>
              <a:t>Développement</a:t>
            </a:r>
            <a:endParaRPr lang="fr-FR" sz="2400" dirty="0"/>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78687" y="5677671"/>
            <a:ext cx="918224" cy="677860"/>
          </a:xfrm>
          <a:prstGeom prst="rect">
            <a:avLst/>
          </a:prstGeom>
        </p:spPr>
      </p:pic>
      <p:sp>
        <p:nvSpPr>
          <p:cNvPr id="14" name="Rounded Rectangle 114"/>
          <p:cNvSpPr/>
          <p:nvPr/>
        </p:nvSpPr>
        <p:spPr bwMode="auto">
          <a:xfrm rot="221567" flipH="1">
            <a:off x="9520626" y="4271220"/>
            <a:ext cx="1349088" cy="1275429"/>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32404" rtl="0" eaLnBrk="1" latinLnBrk="0" hangingPunct="1">
              <a:defRPr sz="1800" kern="1200">
                <a:solidFill>
                  <a:schemeClr val="lt1"/>
                </a:solidFill>
                <a:latin typeface="+mn-lt"/>
                <a:ea typeface="+mn-ea"/>
                <a:cs typeface="+mn-cs"/>
              </a:defRPr>
            </a:lvl1pPr>
            <a:lvl2pPr marL="466203" algn="l" defTabSz="932404" rtl="0" eaLnBrk="1" latinLnBrk="0" hangingPunct="1">
              <a:defRPr sz="1800" kern="1200">
                <a:solidFill>
                  <a:schemeClr val="lt1"/>
                </a:solidFill>
                <a:latin typeface="+mn-lt"/>
                <a:ea typeface="+mn-ea"/>
                <a:cs typeface="+mn-cs"/>
              </a:defRPr>
            </a:lvl2pPr>
            <a:lvl3pPr marL="932404" algn="l" defTabSz="932404" rtl="0" eaLnBrk="1" latinLnBrk="0" hangingPunct="1">
              <a:defRPr sz="1800" kern="1200">
                <a:solidFill>
                  <a:schemeClr val="lt1"/>
                </a:solidFill>
                <a:latin typeface="+mn-lt"/>
                <a:ea typeface="+mn-ea"/>
                <a:cs typeface="+mn-cs"/>
              </a:defRPr>
            </a:lvl3pPr>
            <a:lvl4pPr marL="1398607" algn="l" defTabSz="932404" rtl="0" eaLnBrk="1" latinLnBrk="0" hangingPunct="1">
              <a:defRPr sz="1800" kern="1200">
                <a:solidFill>
                  <a:schemeClr val="lt1"/>
                </a:solidFill>
                <a:latin typeface="+mn-lt"/>
                <a:ea typeface="+mn-ea"/>
                <a:cs typeface="+mn-cs"/>
              </a:defRPr>
            </a:lvl4pPr>
            <a:lvl5pPr marL="1864807" algn="l" defTabSz="932404" rtl="0" eaLnBrk="1" latinLnBrk="0" hangingPunct="1">
              <a:defRPr sz="1800" kern="1200">
                <a:solidFill>
                  <a:schemeClr val="lt1"/>
                </a:solidFill>
                <a:latin typeface="+mn-lt"/>
                <a:ea typeface="+mn-ea"/>
                <a:cs typeface="+mn-cs"/>
              </a:defRPr>
            </a:lvl5pPr>
            <a:lvl6pPr marL="2331011" algn="l" defTabSz="932404" rtl="0" eaLnBrk="1" latinLnBrk="0" hangingPunct="1">
              <a:defRPr sz="1800" kern="1200">
                <a:solidFill>
                  <a:schemeClr val="lt1"/>
                </a:solidFill>
                <a:latin typeface="+mn-lt"/>
                <a:ea typeface="+mn-ea"/>
                <a:cs typeface="+mn-cs"/>
              </a:defRPr>
            </a:lvl6pPr>
            <a:lvl7pPr marL="2797212" algn="l" defTabSz="932404" rtl="0" eaLnBrk="1" latinLnBrk="0" hangingPunct="1">
              <a:defRPr sz="1800" kern="1200">
                <a:solidFill>
                  <a:schemeClr val="lt1"/>
                </a:solidFill>
                <a:latin typeface="+mn-lt"/>
                <a:ea typeface="+mn-ea"/>
                <a:cs typeface="+mn-cs"/>
              </a:defRPr>
            </a:lvl7pPr>
            <a:lvl8pPr marL="3263415" algn="l" defTabSz="932404" rtl="0" eaLnBrk="1" latinLnBrk="0" hangingPunct="1">
              <a:defRPr sz="1800" kern="1200">
                <a:solidFill>
                  <a:schemeClr val="lt1"/>
                </a:solidFill>
                <a:latin typeface="+mn-lt"/>
                <a:ea typeface="+mn-ea"/>
                <a:cs typeface="+mn-cs"/>
              </a:defRPr>
            </a:lvl8pPr>
            <a:lvl9pPr marL="3729618" algn="l" defTabSz="932404"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 name="Freeform 15"/>
          <p:cNvSpPr/>
          <p:nvPr/>
        </p:nvSpPr>
        <p:spPr bwMode="auto">
          <a:xfrm>
            <a:off x="9657235" y="2312867"/>
            <a:ext cx="1137765" cy="949484"/>
          </a:xfrm>
          <a:custGeom>
            <a:avLst/>
            <a:gdLst>
              <a:gd name="connsiteX0" fmla="*/ 0 w 1328737"/>
              <a:gd name="connsiteY0" fmla="*/ 638175 h 1071563"/>
              <a:gd name="connsiteX1" fmla="*/ 409575 w 1328737"/>
              <a:gd name="connsiteY1" fmla="*/ 1071563 h 1071563"/>
              <a:gd name="connsiteX2" fmla="*/ 585787 w 1328737"/>
              <a:gd name="connsiteY2" fmla="*/ 1071563 h 1071563"/>
              <a:gd name="connsiteX3" fmla="*/ 1319212 w 1328737"/>
              <a:gd name="connsiteY3" fmla="*/ 276225 h 1071563"/>
              <a:gd name="connsiteX4" fmla="*/ 1328737 w 1328737"/>
              <a:gd name="connsiteY4" fmla="*/ 133350 h 1071563"/>
              <a:gd name="connsiteX5" fmla="*/ 1233487 w 1328737"/>
              <a:gd name="connsiteY5" fmla="*/ 0 h 1071563"/>
              <a:gd name="connsiteX6" fmla="*/ 1071562 w 1328737"/>
              <a:gd name="connsiteY6" fmla="*/ 0 h 1071563"/>
              <a:gd name="connsiteX7" fmla="*/ 476250 w 1328737"/>
              <a:gd name="connsiteY7" fmla="*/ 609600 h 1071563"/>
              <a:gd name="connsiteX8" fmla="*/ 280987 w 1328737"/>
              <a:gd name="connsiteY8" fmla="*/ 414338 h 1071563"/>
              <a:gd name="connsiteX9" fmla="*/ 119062 w 1328737"/>
              <a:gd name="connsiteY9" fmla="*/ 385763 h 1071563"/>
              <a:gd name="connsiteX10" fmla="*/ 33337 w 1328737"/>
              <a:gd name="connsiteY10" fmla="*/ 471488 h 1071563"/>
              <a:gd name="connsiteX11" fmla="*/ 0 w 1328737"/>
              <a:gd name="connsiteY11" fmla="*/ 638175 h 1071563"/>
              <a:gd name="connsiteX0" fmla="*/ 0 w 1328737"/>
              <a:gd name="connsiteY0" fmla="*/ 638175 h 1071563"/>
              <a:gd name="connsiteX1" fmla="*/ 409575 w 1328737"/>
              <a:gd name="connsiteY1" fmla="*/ 1071563 h 1071563"/>
              <a:gd name="connsiteX2" fmla="*/ 585787 w 1328737"/>
              <a:gd name="connsiteY2" fmla="*/ 1071563 h 1071563"/>
              <a:gd name="connsiteX3" fmla="*/ 1319212 w 1328737"/>
              <a:gd name="connsiteY3" fmla="*/ 276225 h 1071563"/>
              <a:gd name="connsiteX4" fmla="*/ 1328737 w 1328737"/>
              <a:gd name="connsiteY4" fmla="*/ 133350 h 1071563"/>
              <a:gd name="connsiteX5" fmla="*/ 1233487 w 1328737"/>
              <a:gd name="connsiteY5" fmla="*/ 0 h 1071563"/>
              <a:gd name="connsiteX6" fmla="*/ 1071562 w 1328737"/>
              <a:gd name="connsiteY6" fmla="*/ 0 h 1071563"/>
              <a:gd name="connsiteX7" fmla="*/ 476250 w 1328737"/>
              <a:gd name="connsiteY7" fmla="*/ 609600 h 1071563"/>
              <a:gd name="connsiteX8" fmla="*/ 280987 w 1328737"/>
              <a:gd name="connsiteY8" fmla="*/ 414338 h 1071563"/>
              <a:gd name="connsiteX9" fmla="*/ 119062 w 1328737"/>
              <a:gd name="connsiteY9" fmla="*/ 385763 h 1071563"/>
              <a:gd name="connsiteX10" fmla="*/ 33337 w 1328737"/>
              <a:gd name="connsiteY10" fmla="*/ 471488 h 1071563"/>
              <a:gd name="connsiteX11" fmla="*/ 0 w 1328737"/>
              <a:gd name="connsiteY11" fmla="*/ 638175 h 1071563"/>
              <a:gd name="connsiteX0" fmla="*/ 0 w 1328737"/>
              <a:gd name="connsiteY0" fmla="*/ 638175 h 1076326"/>
              <a:gd name="connsiteX1" fmla="*/ 409575 w 1328737"/>
              <a:gd name="connsiteY1" fmla="*/ 1071563 h 1076326"/>
              <a:gd name="connsiteX2" fmla="*/ 595312 w 1328737"/>
              <a:gd name="connsiteY2" fmla="*/ 1076326 h 1076326"/>
              <a:gd name="connsiteX3" fmla="*/ 1319212 w 1328737"/>
              <a:gd name="connsiteY3" fmla="*/ 276225 h 1076326"/>
              <a:gd name="connsiteX4" fmla="*/ 1328737 w 1328737"/>
              <a:gd name="connsiteY4" fmla="*/ 133350 h 1076326"/>
              <a:gd name="connsiteX5" fmla="*/ 1233487 w 1328737"/>
              <a:gd name="connsiteY5" fmla="*/ 0 h 1076326"/>
              <a:gd name="connsiteX6" fmla="*/ 1071562 w 1328737"/>
              <a:gd name="connsiteY6" fmla="*/ 0 h 1076326"/>
              <a:gd name="connsiteX7" fmla="*/ 476250 w 1328737"/>
              <a:gd name="connsiteY7" fmla="*/ 609600 h 1076326"/>
              <a:gd name="connsiteX8" fmla="*/ 280987 w 1328737"/>
              <a:gd name="connsiteY8" fmla="*/ 414338 h 1076326"/>
              <a:gd name="connsiteX9" fmla="*/ 119062 w 1328737"/>
              <a:gd name="connsiteY9" fmla="*/ 385763 h 1076326"/>
              <a:gd name="connsiteX10" fmla="*/ 33337 w 1328737"/>
              <a:gd name="connsiteY10" fmla="*/ 471488 h 1076326"/>
              <a:gd name="connsiteX11" fmla="*/ 0 w 1328737"/>
              <a:gd name="connsiteY11" fmla="*/ 638175 h 1076326"/>
              <a:gd name="connsiteX0" fmla="*/ 0 w 1328737"/>
              <a:gd name="connsiteY0" fmla="*/ 638175 h 1076326"/>
              <a:gd name="connsiteX1" fmla="*/ 409575 w 1328737"/>
              <a:gd name="connsiteY1" fmla="*/ 1071563 h 1076326"/>
              <a:gd name="connsiteX2" fmla="*/ 595312 w 1328737"/>
              <a:gd name="connsiteY2" fmla="*/ 1076326 h 1076326"/>
              <a:gd name="connsiteX3" fmla="*/ 1319212 w 1328737"/>
              <a:gd name="connsiteY3" fmla="*/ 276225 h 1076326"/>
              <a:gd name="connsiteX4" fmla="*/ 1328737 w 1328737"/>
              <a:gd name="connsiteY4" fmla="*/ 133350 h 1076326"/>
              <a:gd name="connsiteX5" fmla="*/ 1233487 w 1328737"/>
              <a:gd name="connsiteY5" fmla="*/ 0 h 1076326"/>
              <a:gd name="connsiteX6" fmla="*/ 1071562 w 1328737"/>
              <a:gd name="connsiteY6" fmla="*/ 0 h 1076326"/>
              <a:gd name="connsiteX7" fmla="*/ 476250 w 1328737"/>
              <a:gd name="connsiteY7" fmla="*/ 609600 h 1076326"/>
              <a:gd name="connsiteX8" fmla="*/ 280987 w 1328737"/>
              <a:gd name="connsiteY8" fmla="*/ 414338 h 1076326"/>
              <a:gd name="connsiteX9" fmla="*/ 119062 w 1328737"/>
              <a:gd name="connsiteY9" fmla="*/ 385763 h 1076326"/>
              <a:gd name="connsiteX10" fmla="*/ 33337 w 1328737"/>
              <a:gd name="connsiteY10" fmla="*/ 471488 h 1076326"/>
              <a:gd name="connsiteX11" fmla="*/ 0 w 1328737"/>
              <a:gd name="connsiteY11" fmla="*/ 638175 h 1076326"/>
              <a:gd name="connsiteX0" fmla="*/ 0 w 1328737"/>
              <a:gd name="connsiteY0" fmla="*/ 638175 h 1076326"/>
              <a:gd name="connsiteX1" fmla="*/ 409575 w 1328737"/>
              <a:gd name="connsiteY1" fmla="*/ 1071563 h 1076326"/>
              <a:gd name="connsiteX2" fmla="*/ 595312 w 1328737"/>
              <a:gd name="connsiteY2" fmla="*/ 1076326 h 1076326"/>
              <a:gd name="connsiteX3" fmla="*/ 1326356 w 1328737"/>
              <a:gd name="connsiteY3" fmla="*/ 283369 h 1076326"/>
              <a:gd name="connsiteX4" fmla="*/ 1328737 w 1328737"/>
              <a:gd name="connsiteY4" fmla="*/ 133350 h 1076326"/>
              <a:gd name="connsiteX5" fmla="*/ 1233487 w 1328737"/>
              <a:gd name="connsiteY5" fmla="*/ 0 h 1076326"/>
              <a:gd name="connsiteX6" fmla="*/ 1071562 w 1328737"/>
              <a:gd name="connsiteY6" fmla="*/ 0 h 1076326"/>
              <a:gd name="connsiteX7" fmla="*/ 476250 w 1328737"/>
              <a:gd name="connsiteY7" fmla="*/ 609600 h 1076326"/>
              <a:gd name="connsiteX8" fmla="*/ 280987 w 1328737"/>
              <a:gd name="connsiteY8" fmla="*/ 414338 h 1076326"/>
              <a:gd name="connsiteX9" fmla="*/ 119062 w 1328737"/>
              <a:gd name="connsiteY9" fmla="*/ 385763 h 1076326"/>
              <a:gd name="connsiteX10" fmla="*/ 33337 w 1328737"/>
              <a:gd name="connsiteY10" fmla="*/ 471488 h 1076326"/>
              <a:gd name="connsiteX11" fmla="*/ 0 w 1328737"/>
              <a:gd name="connsiteY11" fmla="*/ 638175 h 1076326"/>
              <a:gd name="connsiteX0" fmla="*/ 0 w 1328737"/>
              <a:gd name="connsiteY0" fmla="*/ 638175 h 1076326"/>
              <a:gd name="connsiteX1" fmla="*/ 409575 w 1328737"/>
              <a:gd name="connsiteY1" fmla="*/ 1071563 h 1076326"/>
              <a:gd name="connsiteX2" fmla="*/ 595312 w 1328737"/>
              <a:gd name="connsiteY2" fmla="*/ 1076326 h 1076326"/>
              <a:gd name="connsiteX3" fmla="*/ 1326356 w 1328737"/>
              <a:gd name="connsiteY3" fmla="*/ 283369 h 1076326"/>
              <a:gd name="connsiteX4" fmla="*/ 1328737 w 1328737"/>
              <a:gd name="connsiteY4" fmla="*/ 133350 h 1076326"/>
              <a:gd name="connsiteX5" fmla="*/ 1233487 w 1328737"/>
              <a:gd name="connsiteY5" fmla="*/ 0 h 1076326"/>
              <a:gd name="connsiteX6" fmla="*/ 1071562 w 1328737"/>
              <a:gd name="connsiteY6" fmla="*/ 0 h 1076326"/>
              <a:gd name="connsiteX7" fmla="*/ 476250 w 1328737"/>
              <a:gd name="connsiteY7" fmla="*/ 609600 h 1076326"/>
              <a:gd name="connsiteX8" fmla="*/ 280987 w 1328737"/>
              <a:gd name="connsiteY8" fmla="*/ 414338 h 1076326"/>
              <a:gd name="connsiteX9" fmla="*/ 119062 w 1328737"/>
              <a:gd name="connsiteY9" fmla="*/ 385763 h 1076326"/>
              <a:gd name="connsiteX10" fmla="*/ 33337 w 1328737"/>
              <a:gd name="connsiteY10" fmla="*/ 471488 h 1076326"/>
              <a:gd name="connsiteX11" fmla="*/ 0 w 1328737"/>
              <a:gd name="connsiteY11" fmla="*/ 638175 h 1076326"/>
              <a:gd name="connsiteX0" fmla="*/ 0 w 1365255"/>
              <a:gd name="connsiteY0" fmla="*/ 638175 h 1076326"/>
              <a:gd name="connsiteX1" fmla="*/ 409575 w 1365255"/>
              <a:gd name="connsiteY1" fmla="*/ 1071563 h 1076326"/>
              <a:gd name="connsiteX2" fmla="*/ 595312 w 1365255"/>
              <a:gd name="connsiteY2" fmla="*/ 1076326 h 1076326"/>
              <a:gd name="connsiteX3" fmla="*/ 1326356 w 1365255"/>
              <a:gd name="connsiteY3" fmla="*/ 283369 h 1076326"/>
              <a:gd name="connsiteX4" fmla="*/ 1328737 w 1365255"/>
              <a:gd name="connsiteY4" fmla="*/ 133350 h 1076326"/>
              <a:gd name="connsiteX5" fmla="*/ 1233487 w 1365255"/>
              <a:gd name="connsiteY5" fmla="*/ 0 h 1076326"/>
              <a:gd name="connsiteX6" fmla="*/ 1071562 w 1365255"/>
              <a:gd name="connsiteY6" fmla="*/ 0 h 1076326"/>
              <a:gd name="connsiteX7" fmla="*/ 476250 w 1365255"/>
              <a:gd name="connsiteY7" fmla="*/ 609600 h 1076326"/>
              <a:gd name="connsiteX8" fmla="*/ 280987 w 1365255"/>
              <a:gd name="connsiteY8" fmla="*/ 414338 h 1076326"/>
              <a:gd name="connsiteX9" fmla="*/ 119062 w 1365255"/>
              <a:gd name="connsiteY9" fmla="*/ 385763 h 1076326"/>
              <a:gd name="connsiteX10" fmla="*/ 33337 w 1365255"/>
              <a:gd name="connsiteY10" fmla="*/ 471488 h 1076326"/>
              <a:gd name="connsiteX11" fmla="*/ 0 w 1365255"/>
              <a:gd name="connsiteY11" fmla="*/ 638175 h 1076326"/>
              <a:gd name="connsiteX0" fmla="*/ 0 w 1368702"/>
              <a:gd name="connsiteY0" fmla="*/ 638175 h 1076326"/>
              <a:gd name="connsiteX1" fmla="*/ 409575 w 1368702"/>
              <a:gd name="connsiteY1" fmla="*/ 1071563 h 1076326"/>
              <a:gd name="connsiteX2" fmla="*/ 595312 w 1368702"/>
              <a:gd name="connsiteY2" fmla="*/ 1076326 h 1076326"/>
              <a:gd name="connsiteX3" fmla="*/ 1326356 w 1368702"/>
              <a:gd name="connsiteY3" fmla="*/ 283369 h 1076326"/>
              <a:gd name="connsiteX4" fmla="*/ 1328737 w 1368702"/>
              <a:gd name="connsiteY4" fmla="*/ 133350 h 1076326"/>
              <a:gd name="connsiteX5" fmla="*/ 1233487 w 1368702"/>
              <a:gd name="connsiteY5" fmla="*/ 0 h 1076326"/>
              <a:gd name="connsiteX6" fmla="*/ 1071562 w 1368702"/>
              <a:gd name="connsiteY6" fmla="*/ 0 h 1076326"/>
              <a:gd name="connsiteX7" fmla="*/ 476250 w 1368702"/>
              <a:gd name="connsiteY7" fmla="*/ 609600 h 1076326"/>
              <a:gd name="connsiteX8" fmla="*/ 280987 w 1368702"/>
              <a:gd name="connsiteY8" fmla="*/ 414338 h 1076326"/>
              <a:gd name="connsiteX9" fmla="*/ 119062 w 1368702"/>
              <a:gd name="connsiteY9" fmla="*/ 385763 h 1076326"/>
              <a:gd name="connsiteX10" fmla="*/ 33337 w 1368702"/>
              <a:gd name="connsiteY10" fmla="*/ 471488 h 1076326"/>
              <a:gd name="connsiteX11" fmla="*/ 0 w 1368702"/>
              <a:gd name="connsiteY11" fmla="*/ 638175 h 1076326"/>
              <a:gd name="connsiteX0" fmla="*/ 0 w 1368702"/>
              <a:gd name="connsiteY0" fmla="*/ 673099 h 1111250"/>
              <a:gd name="connsiteX1" fmla="*/ 409575 w 1368702"/>
              <a:gd name="connsiteY1" fmla="*/ 1106487 h 1111250"/>
              <a:gd name="connsiteX2" fmla="*/ 595312 w 1368702"/>
              <a:gd name="connsiteY2" fmla="*/ 1111250 h 1111250"/>
              <a:gd name="connsiteX3" fmla="*/ 1326356 w 1368702"/>
              <a:gd name="connsiteY3" fmla="*/ 318293 h 1111250"/>
              <a:gd name="connsiteX4" fmla="*/ 1328737 w 1368702"/>
              <a:gd name="connsiteY4" fmla="*/ 168274 h 1111250"/>
              <a:gd name="connsiteX5" fmla="*/ 1233487 w 1368702"/>
              <a:gd name="connsiteY5" fmla="*/ 34924 h 1111250"/>
              <a:gd name="connsiteX6" fmla="*/ 1071562 w 1368702"/>
              <a:gd name="connsiteY6" fmla="*/ 34924 h 1111250"/>
              <a:gd name="connsiteX7" fmla="*/ 476250 w 1368702"/>
              <a:gd name="connsiteY7" fmla="*/ 644524 h 1111250"/>
              <a:gd name="connsiteX8" fmla="*/ 280987 w 1368702"/>
              <a:gd name="connsiteY8" fmla="*/ 449262 h 1111250"/>
              <a:gd name="connsiteX9" fmla="*/ 119062 w 1368702"/>
              <a:gd name="connsiteY9" fmla="*/ 420687 h 1111250"/>
              <a:gd name="connsiteX10" fmla="*/ 33337 w 1368702"/>
              <a:gd name="connsiteY10" fmla="*/ 506412 h 1111250"/>
              <a:gd name="connsiteX11" fmla="*/ 0 w 1368702"/>
              <a:gd name="connsiteY11" fmla="*/ 673099 h 1111250"/>
              <a:gd name="connsiteX0" fmla="*/ 0 w 1368702"/>
              <a:gd name="connsiteY0" fmla="*/ 681039 h 1119190"/>
              <a:gd name="connsiteX1" fmla="*/ 409575 w 1368702"/>
              <a:gd name="connsiteY1" fmla="*/ 1114427 h 1119190"/>
              <a:gd name="connsiteX2" fmla="*/ 595312 w 1368702"/>
              <a:gd name="connsiteY2" fmla="*/ 1119190 h 1119190"/>
              <a:gd name="connsiteX3" fmla="*/ 1326356 w 1368702"/>
              <a:gd name="connsiteY3" fmla="*/ 326233 h 1119190"/>
              <a:gd name="connsiteX4" fmla="*/ 1328737 w 1368702"/>
              <a:gd name="connsiteY4" fmla="*/ 176214 h 1119190"/>
              <a:gd name="connsiteX5" fmla="*/ 1233487 w 1368702"/>
              <a:gd name="connsiteY5" fmla="*/ 42864 h 1119190"/>
              <a:gd name="connsiteX6" fmla="*/ 1071562 w 1368702"/>
              <a:gd name="connsiteY6" fmla="*/ 42864 h 1119190"/>
              <a:gd name="connsiteX7" fmla="*/ 476250 w 1368702"/>
              <a:gd name="connsiteY7" fmla="*/ 652464 h 1119190"/>
              <a:gd name="connsiteX8" fmla="*/ 280987 w 1368702"/>
              <a:gd name="connsiteY8" fmla="*/ 457202 h 1119190"/>
              <a:gd name="connsiteX9" fmla="*/ 119062 w 1368702"/>
              <a:gd name="connsiteY9" fmla="*/ 428627 h 1119190"/>
              <a:gd name="connsiteX10" fmla="*/ 33337 w 1368702"/>
              <a:gd name="connsiteY10" fmla="*/ 514352 h 1119190"/>
              <a:gd name="connsiteX11" fmla="*/ 0 w 1368702"/>
              <a:gd name="connsiteY11" fmla="*/ 681039 h 1119190"/>
              <a:gd name="connsiteX0" fmla="*/ 0 w 1368702"/>
              <a:gd name="connsiteY0" fmla="*/ 681039 h 1119190"/>
              <a:gd name="connsiteX1" fmla="*/ 409575 w 1368702"/>
              <a:gd name="connsiteY1" fmla="*/ 1114427 h 1119190"/>
              <a:gd name="connsiteX2" fmla="*/ 595312 w 1368702"/>
              <a:gd name="connsiteY2" fmla="*/ 1119190 h 1119190"/>
              <a:gd name="connsiteX3" fmla="*/ 1326356 w 1368702"/>
              <a:gd name="connsiteY3" fmla="*/ 326233 h 1119190"/>
              <a:gd name="connsiteX4" fmla="*/ 1328737 w 1368702"/>
              <a:gd name="connsiteY4" fmla="*/ 176214 h 1119190"/>
              <a:gd name="connsiteX5" fmla="*/ 1233487 w 1368702"/>
              <a:gd name="connsiteY5" fmla="*/ 42864 h 1119190"/>
              <a:gd name="connsiteX6" fmla="*/ 1071562 w 1368702"/>
              <a:gd name="connsiteY6" fmla="*/ 42864 h 1119190"/>
              <a:gd name="connsiteX7" fmla="*/ 476250 w 1368702"/>
              <a:gd name="connsiteY7" fmla="*/ 652464 h 1119190"/>
              <a:gd name="connsiteX8" fmla="*/ 280987 w 1368702"/>
              <a:gd name="connsiteY8" fmla="*/ 457202 h 1119190"/>
              <a:gd name="connsiteX9" fmla="*/ 119062 w 1368702"/>
              <a:gd name="connsiteY9" fmla="*/ 428627 h 1119190"/>
              <a:gd name="connsiteX10" fmla="*/ 33337 w 1368702"/>
              <a:gd name="connsiteY10" fmla="*/ 514352 h 1119190"/>
              <a:gd name="connsiteX11" fmla="*/ 0 w 1368702"/>
              <a:gd name="connsiteY11" fmla="*/ 681039 h 1119190"/>
              <a:gd name="connsiteX0" fmla="*/ 0 w 1368702"/>
              <a:gd name="connsiteY0" fmla="*/ 681039 h 1119190"/>
              <a:gd name="connsiteX1" fmla="*/ 409575 w 1368702"/>
              <a:gd name="connsiteY1" fmla="*/ 1114427 h 1119190"/>
              <a:gd name="connsiteX2" fmla="*/ 595312 w 1368702"/>
              <a:gd name="connsiteY2" fmla="*/ 1119190 h 1119190"/>
              <a:gd name="connsiteX3" fmla="*/ 1326356 w 1368702"/>
              <a:gd name="connsiteY3" fmla="*/ 326233 h 1119190"/>
              <a:gd name="connsiteX4" fmla="*/ 1328737 w 1368702"/>
              <a:gd name="connsiteY4" fmla="*/ 176214 h 1119190"/>
              <a:gd name="connsiteX5" fmla="*/ 1233487 w 1368702"/>
              <a:gd name="connsiteY5" fmla="*/ 42864 h 1119190"/>
              <a:gd name="connsiteX6" fmla="*/ 1071562 w 1368702"/>
              <a:gd name="connsiteY6" fmla="*/ 42864 h 1119190"/>
              <a:gd name="connsiteX7" fmla="*/ 476250 w 1368702"/>
              <a:gd name="connsiteY7" fmla="*/ 652464 h 1119190"/>
              <a:gd name="connsiteX8" fmla="*/ 280987 w 1368702"/>
              <a:gd name="connsiteY8" fmla="*/ 457202 h 1119190"/>
              <a:gd name="connsiteX9" fmla="*/ 119062 w 1368702"/>
              <a:gd name="connsiteY9" fmla="*/ 428627 h 1119190"/>
              <a:gd name="connsiteX10" fmla="*/ 33337 w 1368702"/>
              <a:gd name="connsiteY10" fmla="*/ 514352 h 1119190"/>
              <a:gd name="connsiteX11" fmla="*/ 0 w 1368702"/>
              <a:gd name="connsiteY11" fmla="*/ 681039 h 1119190"/>
              <a:gd name="connsiteX0" fmla="*/ 0 w 1368702"/>
              <a:gd name="connsiteY0" fmla="*/ 681039 h 1119190"/>
              <a:gd name="connsiteX1" fmla="*/ 409575 w 1368702"/>
              <a:gd name="connsiteY1" fmla="*/ 1114427 h 1119190"/>
              <a:gd name="connsiteX2" fmla="*/ 595312 w 1368702"/>
              <a:gd name="connsiteY2" fmla="*/ 1119190 h 1119190"/>
              <a:gd name="connsiteX3" fmla="*/ 1326356 w 1368702"/>
              <a:gd name="connsiteY3" fmla="*/ 326233 h 1119190"/>
              <a:gd name="connsiteX4" fmla="*/ 1328737 w 1368702"/>
              <a:gd name="connsiteY4" fmla="*/ 176214 h 1119190"/>
              <a:gd name="connsiteX5" fmla="*/ 1233487 w 1368702"/>
              <a:gd name="connsiteY5" fmla="*/ 42864 h 1119190"/>
              <a:gd name="connsiteX6" fmla="*/ 1071562 w 1368702"/>
              <a:gd name="connsiteY6" fmla="*/ 42864 h 1119190"/>
              <a:gd name="connsiteX7" fmla="*/ 476250 w 1368702"/>
              <a:gd name="connsiteY7" fmla="*/ 652464 h 1119190"/>
              <a:gd name="connsiteX8" fmla="*/ 280987 w 1368702"/>
              <a:gd name="connsiteY8" fmla="*/ 457202 h 1119190"/>
              <a:gd name="connsiteX9" fmla="*/ 119062 w 1368702"/>
              <a:gd name="connsiteY9" fmla="*/ 428627 h 1119190"/>
              <a:gd name="connsiteX10" fmla="*/ 33337 w 1368702"/>
              <a:gd name="connsiteY10" fmla="*/ 514352 h 1119190"/>
              <a:gd name="connsiteX11" fmla="*/ 0 w 1368702"/>
              <a:gd name="connsiteY11" fmla="*/ 681039 h 1119190"/>
              <a:gd name="connsiteX0" fmla="*/ 0 w 1368702"/>
              <a:gd name="connsiteY0" fmla="*/ 678993 h 1117144"/>
              <a:gd name="connsiteX1" fmla="*/ 409575 w 1368702"/>
              <a:gd name="connsiteY1" fmla="*/ 1112381 h 1117144"/>
              <a:gd name="connsiteX2" fmla="*/ 595312 w 1368702"/>
              <a:gd name="connsiteY2" fmla="*/ 1117144 h 1117144"/>
              <a:gd name="connsiteX3" fmla="*/ 1326356 w 1368702"/>
              <a:gd name="connsiteY3" fmla="*/ 324187 h 1117144"/>
              <a:gd name="connsiteX4" fmla="*/ 1328737 w 1368702"/>
              <a:gd name="connsiteY4" fmla="*/ 174168 h 1117144"/>
              <a:gd name="connsiteX5" fmla="*/ 1233487 w 1368702"/>
              <a:gd name="connsiteY5" fmla="*/ 40818 h 1117144"/>
              <a:gd name="connsiteX6" fmla="*/ 1071562 w 1368702"/>
              <a:gd name="connsiteY6" fmla="*/ 40818 h 1117144"/>
              <a:gd name="connsiteX7" fmla="*/ 476250 w 1368702"/>
              <a:gd name="connsiteY7" fmla="*/ 650418 h 1117144"/>
              <a:gd name="connsiteX8" fmla="*/ 280987 w 1368702"/>
              <a:gd name="connsiteY8" fmla="*/ 455156 h 1117144"/>
              <a:gd name="connsiteX9" fmla="*/ 119062 w 1368702"/>
              <a:gd name="connsiteY9" fmla="*/ 426581 h 1117144"/>
              <a:gd name="connsiteX10" fmla="*/ 33337 w 1368702"/>
              <a:gd name="connsiteY10" fmla="*/ 512306 h 1117144"/>
              <a:gd name="connsiteX11" fmla="*/ 0 w 1368702"/>
              <a:gd name="connsiteY11" fmla="*/ 678993 h 1117144"/>
              <a:gd name="connsiteX0" fmla="*/ 0 w 1368702"/>
              <a:gd name="connsiteY0" fmla="*/ 678993 h 1117144"/>
              <a:gd name="connsiteX1" fmla="*/ 409575 w 1368702"/>
              <a:gd name="connsiteY1" fmla="*/ 1112381 h 1117144"/>
              <a:gd name="connsiteX2" fmla="*/ 595312 w 1368702"/>
              <a:gd name="connsiteY2" fmla="*/ 1117144 h 1117144"/>
              <a:gd name="connsiteX3" fmla="*/ 1326356 w 1368702"/>
              <a:gd name="connsiteY3" fmla="*/ 324187 h 1117144"/>
              <a:gd name="connsiteX4" fmla="*/ 1328737 w 1368702"/>
              <a:gd name="connsiteY4" fmla="*/ 174168 h 1117144"/>
              <a:gd name="connsiteX5" fmla="*/ 1233487 w 1368702"/>
              <a:gd name="connsiteY5" fmla="*/ 40818 h 1117144"/>
              <a:gd name="connsiteX6" fmla="*/ 1071562 w 1368702"/>
              <a:gd name="connsiteY6" fmla="*/ 40818 h 1117144"/>
              <a:gd name="connsiteX7" fmla="*/ 476250 w 1368702"/>
              <a:gd name="connsiteY7" fmla="*/ 650418 h 1117144"/>
              <a:gd name="connsiteX8" fmla="*/ 280987 w 1368702"/>
              <a:gd name="connsiteY8" fmla="*/ 455156 h 1117144"/>
              <a:gd name="connsiteX9" fmla="*/ 119062 w 1368702"/>
              <a:gd name="connsiteY9" fmla="*/ 426581 h 1117144"/>
              <a:gd name="connsiteX10" fmla="*/ 33337 w 1368702"/>
              <a:gd name="connsiteY10" fmla="*/ 512306 h 1117144"/>
              <a:gd name="connsiteX11" fmla="*/ 0 w 1368702"/>
              <a:gd name="connsiteY11" fmla="*/ 678993 h 1117144"/>
              <a:gd name="connsiteX0" fmla="*/ 0 w 1368702"/>
              <a:gd name="connsiteY0" fmla="*/ 678993 h 1117144"/>
              <a:gd name="connsiteX1" fmla="*/ 409575 w 1368702"/>
              <a:gd name="connsiteY1" fmla="*/ 1112381 h 1117144"/>
              <a:gd name="connsiteX2" fmla="*/ 595312 w 1368702"/>
              <a:gd name="connsiteY2" fmla="*/ 1117144 h 1117144"/>
              <a:gd name="connsiteX3" fmla="*/ 1326356 w 1368702"/>
              <a:gd name="connsiteY3" fmla="*/ 324187 h 1117144"/>
              <a:gd name="connsiteX4" fmla="*/ 1328737 w 1368702"/>
              <a:gd name="connsiteY4" fmla="*/ 174168 h 1117144"/>
              <a:gd name="connsiteX5" fmla="*/ 1233487 w 1368702"/>
              <a:gd name="connsiteY5" fmla="*/ 40818 h 1117144"/>
              <a:gd name="connsiteX6" fmla="*/ 1071562 w 1368702"/>
              <a:gd name="connsiteY6" fmla="*/ 40818 h 1117144"/>
              <a:gd name="connsiteX7" fmla="*/ 476250 w 1368702"/>
              <a:gd name="connsiteY7" fmla="*/ 650418 h 1117144"/>
              <a:gd name="connsiteX8" fmla="*/ 280987 w 1368702"/>
              <a:gd name="connsiteY8" fmla="*/ 455156 h 1117144"/>
              <a:gd name="connsiteX9" fmla="*/ 119062 w 1368702"/>
              <a:gd name="connsiteY9" fmla="*/ 426581 h 1117144"/>
              <a:gd name="connsiteX10" fmla="*/ 33337 w 1368702"/>
              <a:gd name="connsiteY10" fmla="*/ 512306 h 1117144"/>
              <a:gd name="connsiteX11" fmla="*/ 0 w 1368702"/>
              <a:gd name="connsiteY11" fmla="*/ 678993 h 1117144"/>
              <a:gd name="connsiteX0" fmla="*/ 6959 w 1375661"/>
              <a:gd name="connsiteY0" fmla="*/ 678993 h 1117144"/>
              <a:gd name="connsiteX1" fmla="*/ 416534 w 1375661"/>
              <a:gd name="connsiteY1" fmla="*/ 1112381 h 1117144"/>
              <a:gd name="connsiteX2" fmla="*/ 602271 w 1375661"/>
              <a:gd name="connsiteY2" fmla="*/ 1117144 h 1117144"/>
              <a:gd name="connsiteX3" fmla="*/ 1333315 w 1375661"/>
              <a:gd name="connsiteY3" fmla="*/ 324187 h 1117144"/>
              <a:gd name="connsiteX4" fmla="*/ 1335696 w 1375661"/>
              <a:gd name="connsiteY4" fmla="*/ 174168 h 1117144"/>
              <a:gd name="connsiteX5" fmla="*/ 1240446 w 1375661"/>
              <a:gd name="connsiteY5" fmla="*/ 40818 h 1117144"/>
              <a:gd name="connsiteX6" fmla="*/ 1078521 w 1375661"/>
              <a:gd name="connsiteY6" fmla="*/ 40818 h 1117144"/>
              <a:gd name="connsiteX7" fmla="*/ 483209 w 1375661"/>
              <a:gd name="connsiteY7" fmla="*/ 650418 h 1117144"/>
              <a:gd name="connsiteX8" fmla="*/ 287946 w 1375661"/>
              <a:gd name="connsiteY8" fmla="*/ 455156 h 1117144"/>
              <a:gd name="connsiteX9" fmla="*/ 126021 w 1375661"/>
              <a:gd name="connsiteY9" fmla="*/ 426581 h 1117144"/>
              <a:gd name="connsiteX10" fmla="*/ 40296 w 1375661"/>
              <a:gd name="connsiteY10" fmla="*/ 512306 h 1117144"/>
              <a:gd name="connsiteX11" fmla="*/ 6959 w 1375661"/>
              <a:gd name="connsiteY11" fmla="*/ 678993 h 1117144"/>
              <a:gd name="connsiteX0" fmla="*/ 21245 w 1389947"/>
              <a:gd name="connsiteY0" fmla="*/ 678993 h 1117144"/>
              <a:gd name="connsiteX1" fmla="*/ 430820 w 1389947"/>
              <a:gd name="connsiteY1" fmla="*/ 1112381 h 1117144"/>
              <a:gd name="connsiteX2" fmla="*/ 616557 w 1389947"/>
              <a:gd name="connsiteY2" fmla="*/ 1117144 h 1117144"/>
              <a:gd name="connsiteX3" fmla="*/ 1347601 w 1389947"/>
              <a:gd name="connsiteY3" fmla="*/ 324187 h 1117144"/>
              <a:gd name="connsiteX4" fmla="*/ 1349982 w 1389947"/>
              <a:gd name="connsiteY4" fmla="*/ 174168 h 1117144"/>
              <a:gd name="connsiteX5" fmla="*/ 1254732 w 1389947"/>
              <a:gd name="connsiteY5" fmla="*/ 40818 h 1117144"/>
              <a:gd name="connsiteX6" fmla="*/ 1092807 w 1389947"/>
              <a:gd name="connsiteY6" fmla="*/ 40818 h 1117144"/>
              <a:gd name="connsiteX7" fmla="*/ 497495 w 1389947"/>
              <a:gd name="connsiteY7" fmla="*/ 650418 h 1117144"/>
              <a:gd name="connsiteX8" fmla="*/ 302232 w 1389947"/>
              <a:gd name="connsiteY8" fmla="*/ 455156 h 1117144"/>
              <a:gd name="connsiteX9" fmla="*/ 140307 w 1389947"/>
              <a:gd name="connsiteY9" fmla="*/ 426581 h 1117144"/>
              <a:gd name="connsiteX10" fmla="*/ 54582 w 1389947"/>
              <a:gd name="connsiteY10" fmla="*/ 512306 h 1117144"/>
              <a:gd name="connsiteX11" fmla="*/ 21245 w 1389947"/>
              <a:gd name="connsiteY11" fmla="*/ 678993 h 1117144"/>
              <a:gd name="connsiteX0" fmla="*/ 24204 w 1392906"/>
              <a:gd name="connsiteY0" fmla="*/ 678993 h 1117144"/>
              <a:gd name="connsiteX1" fmla="*/ 433779 w 1392906"/>
              <a:gd name="connsiteY1" fmla="*/ 1112381 h 1117144"/>
              <a:gd name="connsiteX2" fmla="*/ 619516 w 1392906"/>
              <a:gd name="connsiteY2" fmla="*/ 1117144 h 1117144"/>
              <a:gd name="connsiteX3" fmla="*/ 1350560 w 1392906"/>
              <a:gd name="connsiteY3" fmla="*/ 324187 h 1117144"/>
              <a:gd name="connsiteX4" fmla="*/ 1352941 w 1392906"/>
              <a:gd name="connsiteY4" fmla="*/ 174168 h 1117144"/>
              <a:gd name="connsiteX5" fmla="*/ 1257691 w 1392906"/>
              <a:gd name="connsiteY5" fmla="*/ 40818 h 1117144"/>
              <a:gd name="connsiteX6" fmla="*/ 1095766 w 1392906"/>
              <a:gd name="connsiteY6" fmla="*/ 40818 h 1117144"/>
              <a:gd name="connsiteX7" fmla="*/ 500454 w 1392906"/>
              <a:gd name="connsiteY7" fmla="*/ 650418 h 1117144"/>
              <a:gd name="connsiteX8" fmla="*/ 305191 w 1392906"/>
              <a:gd name="connsiteY8" fmla="*/ 455156 h 1117144"/>
              <a:gd name="connsiteX9" fmla="*/ 143266 w 1392906"/>
              <a:gd name="connsiteY9" fmla="*/ 426581 h 1117144"/>
              <a:gd name="connsiteX10" fmla="*/ 57541 w 1392906"/>
              <a:gd name="connsiteY10" fmla="*/ 512306 h 1117144"/>
              <a:gd name="connsiteX11" fmla="*/ 24204 w 1392906"/>
              <a:gd name="connsiteY11" fmla="*/ 678993 h 1117144"/>
              <a:gd name="connsiteX0" fmla="*/ 24204 w 1392906"/>
              <a:gd name="connsiteY0" fmla="*/ 678993 h 1117144"/>
              <a:gd name="connsiteX1" fmla="*/ 433779 w 1392906"/>
              <a:gd name="connsiteY1" fmla="*/ 1112381 h 1117144"/>
              <a:gd name="connsiteX2" fmla="*/ 619516 w 1392906"/>
              <a:gd name="connsiteY2" fmla="*/ 1117144 h 1117144"/>
              <a:gd name="connsiteX3" fmla="*/ 1350560 w 1392906"/>
              <a:gd name="connsiteY3" fmla="*/ 324187 h 1117144"/>
              <a:gd name="connsiteX4" fmla="*/ 1352941 w 1392906"/>
              <a:gd name="connsiteY4" fmla="*/ 174168 h 1117144"/>
              <a:gd name="connsiteX5" fmla="*/ 1257691 w 1392906"/>
              <a:gd name="connsiteY5" fmla="*/ 40818 h 1117144"/>
              <a:gd name="connsiteX6" fmla="*/ 1095766 w 1392906"/>
              <a:gd name="connsiteY6" fmla="*/ 40818 h 1117144"/>
              <a:gd name="connsiteX7" fmla="*/ 500454 w 1392906"/>
              <a:gd name="connsiteY7" fmla="*/ 650418 h 1117144"/>
              <a:gd name="connsiteX8" fmla="*/ 305191 w 1392906"/>
              <a:gd name="connsiteY8" fmla="*/ 455156 h 1117144"/>
              <a:gd name="connsiteX9" fmla="*/ 143266 w 1392906"/>
              <a:gd name="connsiteY9" fmla="*/ 426581 h 1117144"/>
              <a:gd name="connsiteX10" fmla="*/ 57541 w 1392906"/>
              <a:gd name="connsiteY10" fmla="*/ 512306 h 1117144"/>
              <a:gd name="connsiteX11" fmla="*/ 24204 w 1392906"/>
              <a:gd name="connsiteY11" fmla="*/ 678993 h 1117144"/>
              <a:gd name="connsiteX0" fmla="*/ 24204 w 1392906"/>
              <a:gd name="connsiteY0" fmla="*/ 678993 h 1117144"/>
              <a:gd name="connsiteX1" fmla="*/ 433779 w 1392906"/>
              <a:gd name="connsiteY1" fmla="*/ 1112381 h 1117144"/>
              <a:gd name="connsiteX2" fmla="*/ 619516 w 1392906"/>
              <a:gd name="connsiteY2" fmla="*/ 1117144 h 1117144"/>
              <a:gd name="connsiteX3" fmla="*/ 1350560 w 1392906"/>
              <a:gd name="connsiteY3" fmla="*/ 324187 h 1117144"/>
              <a:gd name="connsiteX4" fmla="*/ 1352941 w 1392906"/>
              <a:gd name="connsiteY4" fmla="*/ 174168 h 1117144"/>
              <a:gd name="connsiteX5" fmla="*/ 1257691 w 1392906"/>
              <a:gd name="connsiteY5" fmla="*/ 40818 h 1117144"/>
              <a:gd name="connsiteX6" fmla="*/ 1095766 w 1392906"/>
              <a:gd name="connsiteY6" fmla="*/ 40818 h 1117144"/>
              <a:gd name="connsiteX7" fmla="*/ 500454 w 1392906"/>
              <a:gd name="connsiteY7" fmla="*/ 650418 h 1117144"/>
              <a:gd name="connsiteX8" fmla="*/ 305191 w 1392906"/>
              <a:gd name="connsiteY8" fmla="*/ 455156 h 1117144"/>
              <a:gd name="connsiteX9" fmla="*/ 143266 w 1392906"/>
              <a:gd name="connsiteY9" fmla="*/ 426581 h 1117144"/>
              <a:gd name="connsiteX10" fmla="*/ 57541 w 1392906"/>
              <a:gd name="connsiteY10" fmla="*/ 512306 h 1117144"/>
              <a:gd name="connsiteX11" fmla="*/ 24204 w 1392906"/>
              <a:gd name="connsiteY11" fmla="*/ 678993 h 1117144"/>
              <a:gd name="connsiteX0" fmla="*/ 24204 w 1392906"/>
              <a:gd name="connsiteY0" fmla="*/ 678993 h 1117144"/>
              <a:gd name="connsiteX1" fmla="*/ 433779 w 1392906"/>
              <a:gd name="connsiteY1" fmla="*/ 1112381 h 1117144"/>
              <a:gd name="connsiteX2" fmla="*/ 619516 w 1392906"/>
              <a:gd name="connsiteY2" fmla="*/ 1117144 h 1117144"/>
              <a:gd name="connsiteX3" fmla="*/ 1350560 w 1392906"/>
              <a:gd name="connsiteY3" fmla="*/ 324187 h 1117144"/>
              <a:gd name="connsiteX4" fmla="*/ 1352941 w 1392906"/>
              <a:gd name="connsiteY4" fmla="*/ 174168 h 1117144"/>
              <a:gd name="connsiteX5" fmla="*/ 1257691 w 1392906"/>
              <a:gd name="connsiteY5" fmla="*/ 40818 h 1117144"/>
              <a:gd name="connsiteX6" fmla="*/ 1095766 w 1392906"/>
              <a:gd name="connsiteY6" fmla="*/ 40818 h 1117144"/>
              <a:gd name="connsiteX7" fmla="*/ 500454 w 1392906"/>
              <a:gd name="connsiteY7" fmla="*/ 650418 h 1117144"/>
              <a:gd name="connsiteX8" fmla="*/ 305191 w 1392906"/>
              <a:gd name="connsiteY8" fmla="*/ 455156 h 1117144"/>
              <a:gd name="connsiteX9" fmla="*/ 143266 w 1392906"/>
              <a:gd name="connsiteY9" fmla="*/ 426581 h 1117144"/>
              <a:gd name="connsiteX10" fmla="*/ 57541 w 1392906"/>
              <a:gd name="connsiteY10" fmla="*/ 512306 h 1117144"/>
              <a:gd name="connsiteX11" fmla="*/ 24204 w 1392906"/>
              <a:gd name="connsiteY11" fmla="*/ 678993 h 1117144"/>
              <a:gd name="connsiteX0" fmla="*/ 24204 w 1392906"/>
              <a:gd name="connsiteY0" fmla="*/ 678993 h 1117144"/>
              <a:gd name="connsiteX1" fmla="*/ 433779 w 1392906"/>
              <a:gd name="connsiteY1" fmla="*/ 1112381 h 1117144"/>
              <a:gd name="connsiteX2" fmla="*/ 619516 w 1392906"/>
              <a:gd name="connsiteY2" fmla="*/ 1117144 h 1117144"/>
              <a:gd name="connsiteX3" fmla="*/ 1350560 w 1392906"/>
              <a:gd name="connsiteY3" fmla="*/ 324187 h 1117144"/>
              <a:gd name="connsiteX4" fmla="*/ 1352941 w 1392906"/>
              <a:gd name="connsiteY4" fmla="*/ 174168 h 1117144"/>
              <a:gd name="connsiteX5" fmla="*/ 1257691 w 1392906"/>
              <a:gd name="connsiteY5" fmla="*/ 40818 h 1117144"/>
              <a:gd name="connsiteX6" fmla="*/ 1095766 w 1392906"/>
              <a:gd name="connsiteY6" fmla="*/ 40818 h 1117144"/>
              <a:gd name="connsiteX7" fmla="*/ 500454 w 1392906"/>
              <a:gd name="connsiteY7" fmla="*/ 650418 h 1117144"/>
              <a:gd name="connsiteX8" fmla="*/ 305191 w 1392906"/>
              <a:gd name="connsiteY8" fmla="*/ 455156 h 1117144"/>
              <a:gd name="connsiteX9" fmla="*/ 143266 w 1392906"/>
              <a:gd name="connsiteY9" fmla="*/ 426581 h 1117144"/>
              <a:gd name="connsiteX10" fmla="*/ 57541 w 1392906"/>
              <a:gd name="connsiteY10" fmla="*/ 512306 h 1117144"/>
              <a:gd name="connsiteX11" fmla="*/ 24204 w 1392906"/>
              <a:gd name="connsiteY11" fmla="*/ 678993 h 1117144"/>
              <a:gd name="connsiteX0" fmla="*/ 24204 w 1392906"/>
              <a:gd name="connsiteY0" fmla="*/ 678993 h 1157909"/>
              <a:gd name="connsiteX1" fmla="*/ 433779 w 1392906"/>
              <a:gd name="connsiteY1" fmla="*/ 1112381 h 1157909"/>
              <a:gd name="connsiteX2" fmla="*/ 619516 w 1392906"/>
              <a:gd name="connsiteY2" fmla="*/ 1117144 h 1157909"/>
              <a:gd name="connsiteX3" fmla="*/ 1350560 w 1392906"/>
              <a:gd name="connsiteY3" fmla="*/ 324187 h 1157909"/>
              <a:gd name="connsiteX4" fmla="*/ 1352941 w 1392906"/>
              <a:gd name="connsiteY4" fmla="*/ 174168 h 1157909"/>
              <a:gd name="connsiteX5" fmla="*/ 1257691 w 1392906"/>
              <a:gd name="connsiteY5" fmla="*/ 40818 h 1157909"/>
              <a:gd name="connsiteX6" fmla="*/ 1095766 w 1392906"/>
              <a:gd name="connsiteY6" fmla="*/ 40818 h 1157909"/>
              <a:gd name="connsiteX7" fmla="*/ 500454 w 1392906"/>
              <a:gd name="connsiteY7" fmla="*/ 650418 h 1157909"/>
              <a:gd name="connsiteX8" fmla="*/ 305191 w 1392906"/>
              <a:gd name="connsiteY8" fmla="*/ 455156 h 1157909"/>
              <a:gd name="connsiteX9" fmla="*/ 143266 w 1392906"/>
              <a:gd name="connsiteY9" fmla="*/ 426581 h 1157909"/>
              <a:gd name="connsiteX10" fmla="*/ 57541 w 1392906"/>
              <a:gd name="connsiteY10" fmla="*/ 512306 h 1157909"/>
              <a:gd name="connsiteX11" fmla="*/ 24204 w 1392906"/>
              <a:gd name="connsiteY11" fmla="*/ 678993 h 1157909"/>
              <a:gd name="connsiteX0" fmla="*/ 24204 w 1392906"/>
              <a:gd name="connsiteY0" fmla="*/ 678993 h 1177775"/>
              <a:gd name="connsiteX1" fmla="*/ 433779 w 1392906"/>
              <a:gd name="connsiteY1" fmla="*/ 1112381 h 1177775"/>
              <a:gd name="connsiteX2" fmla="*/ 619516 w 1392906"/>
              <a:gd name="connsiteY2" fmla="*/ 1117144 h 1177775"/>
              <a:gd name="connsiteX3" fmla="*/ 1350560 w 1392906"/>
              <a:gd name="connsiteY3" fmla="*/ 324187 h 1177775"/>
              <a:gd name="connsiteX4" fmla="*/ 1352941 w 1392906"/>
              <a:gd name="connsiteY4" fmla="*/ 174168 h 1177775"/>
              <a:gd name="connsiteX5" fmla="*/ 1257691 w 1392906"/>
              <a:gd name="connsiteY5" fmla="*/ 40818 h 1177775"/>
              <a:gd name="connsiteX6" fmla="*/ 1095766 w 1392906"/>
              <a:gd name="connsiteY6" fmla="*/ 40818 h 1177775"/>
              <a:gd name="connsiteX7" fmla="*/ 500454 w 1392906"/>
              <a:gd name="connsiteY7" fmla="*/ 650418 h 1177775"/>
              <a:gd name="connsiteX8" fmla="*/ 305191 w 1392906"/>
              <a:gd name="connsiteY8" fmla="*/ 455156 h 1177775"/>
              <a:gd name="connsiteX9" fmla="*/ 143266 w 1392906"/>
              <a:gd name="connsiteY9" fmla="*/ 426581 h 1177775"/>
              <a:gd name="connsiteX10" fmla="*/ 57541 w 1392906"/>
              <a:gd name="connsiteY10" fmla="*/ 512306 h 1177775"/>
              <a:gd name="connsiteX11" fmla="*/ 24204 w 1392906"/>
              <a:gd name="connsiteY11" fmla="*/ 678993 h 117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92906" h="1177775">
                <a:moveTo>
                  <a:pt x="24204" y="678993"/>
                </a:moveTo>
                <a:cubicBezTo>
                  <a:pt x="170254" y="818693"/>
                  <a:pt x="299635" y="956012"/>
                  <a:pt x="433779" y="1112381"/>
                </a:cubicBezTo>
                <a:cubicBezTo>
                  <a:pt x="481404" y="1185406"/>
                  <a:pt x="555222" y="1210806"/>
                  <a:pt x="619516" y="1117144"/>
                </a:cubicBezTo>
                <a:cubicBezTo>
                  <a:pt x="816366" y="830600"/>
                  <a:pt x="1022741" y="575012"/>
                  <a:pt x="1350560" y="324187"/>
                </a:cubicBezTo>
                <a:cubicBezTo>
                  <a:pt x="1437079" y="236081"/>
                  <a:pt x="1366434" y="197980"/>
                  <a:pt x="1352941" y="174168"/>
                </a:cubicBezTo>
                <a:lnTo>
                  <a:pt x="1257691" y="40818"/>
                </a:lnTo>
                <a:cubicBezTo>
                  <a:pt x="1191810" y="-33000"/>
                  <a:pt x="1144978" y="9862"/>
                  <a:pt x="1095766" y="40818"/>
                </a:cubicBezTo>
                <a:cubicBezTo>
                  <a:pt x="778266" y="246400"/>
                  <a:pt x="644122" y="482936"/>
                  <a:pt x="500454" y="650418"/>
                </a:cubicBezTo>
                <a:lnTo>
                  <a:pt x="305191" y="455156"/>
                </a:lnTo>
                <a:cubicBezTo>
                  <a:pt x="260741" y="381337"/>
                  <a:pt x="185335" y="390862"/>
                  <a:pt x="143266" y="426581"/>
                </a:cubicBezTo>
                <a:lnTo>
                  <a:pt x="57541" y="512306"/>
                </a:lnTo>
                <a:cubicBezTo>
                  <a:pt x="-15483" y="601206"/>
                  <a:pt x="-9928" y="623430"/>
                  <a:pt x="24204" y="678993"/>
                </a:cubicBezTo>
                <a:close/>
              </a:path>
            </a:pathLst>
          </a:custGeom>
          <a:solidFill>
            <a:schemeClr val="bg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16"/>
          <p:cNvSpPr>
            <a:spLocks noEditPoints="1"/>
          </p:cNvSpPr>
          <p:nvPr/>
        </p:nvSpPr>
        <p:spPr bwMode="black">
          <a:xfrm>
            <a:off x="7019659" y="2247900"/>
            <a:ext cx="1184542" cy="1057580"/>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bg1"/>
          </a:solidFill>
          <a:ln>
            <a:noFill/>
          </a:ln>
        </p:spPr>
        <p:txBody>
          <a:bodyPr vert="horz" wrap="square" lIns="83943" tIns="41972" rIns="83943" bIns="41972" numCol="1" anchor="t" anchorCtr="0" compatLnSpc="1">
            <a:prstTxWarp prst="textNoShape">
              <a:avLst/>
            </a:prstTxWarp>
          </a:bodyPr>
          <a:lstStyle>
            <a:defPPr>
              <a:defRPr lang="en-US"/>
            </a:defPPr>
            <a:lvl1pPr marL="0" algn="l" defTabSz="932404" rtl="0" eaLnBrk="1" latinLnBrk="0" hangingPunct="1">
              <a:defRPr sz="1800" kern="1200">
                <a:solidFill>
                  <a:schemeClr val="tx1"/>
                </a:solidFill>
                <a:latin typeface="+mn-lt"/>
                <a:ea typeface="+mn-ea"/>
                <a:cs typeface="+mn-cs"/>
              </a:defRPr>
            </a:lvl1pPr>
            <a:lvl2pPr marL="466203" algn="l" defTabSz="932404" rtl="0" eaLnBrk="1" latinLnBrk="0" hangingPunct="1">
              <a:defRPr sz="1800" kern="1200">
                <a:solidFill>
                  <a:schemeClr val="tx1"/>
                </a:solidFill>
                <a:latin typeface="+mn-lt"/>
                <a:ea typeface="+mn-ea"/>
                <a:cs typeface="+mn-cs"/>
              </a:defRPr>
            </a:lvl2pPr>
            <a:lvl3pPr marL="932404" algn="l" defTabSz="932404" rtl="0" eaLnBrk="1" latinLnBrk="0" hangingPunct="1">
              <a:defRPr sz="1800" kern="1200">
                <a:solidFill>
                  <a:schemeClr val="tx1"/>
                </a:solidFill>
                <a:latin typeface="+mn-lt"/>
                <a:ea typeface="+mn-ea"/>
                <a:cs typeface="+mn-cs"/>
              </a:defRPr>
            </a:lvl3pPr>
            <a:lvl4pPr marL="1398607" algn="l" defTabSz="932404" rtl="0" eaLnBrk="1" latinLnBrk="0" hangingPunct="1">
              <a:defRPr sz="1800" kern="1200">
                <a:solidFill>
                  <a:schemeClr val="tx1"/>
                </a:solidFill>
                <a:latin typeface="+mn-lt"/>
                <a:ea typeface="+mn-ea"/>
                <a:cs typeface="+mn-cs"/>
              </a:defRPr>
            </a:lvl4pPr>
            <a:lvl5pPr marL="1864807" algn="l" defTabSz="932404" rtl="0" eaLnBrk="1" latinLnBrk="0" hangingPunct="1">
              <a:defRPr sz="1800" kern="1200">
                <a:solidFill>
                  <a:schemeClr val="tx1"/>
                </a:solidFill>
                <a:latin typeface="+mn-lt"/>
                <a:ea typeface="+mn-ea"/>
                <a:cs typeface="+mn-cs"/>
              </a:defRPr>
            </a:lvl5pPr>
            <a:lvl6pPr marL="2331011" algn="l" defTabSz="932404" rtl="0" eaLnBrk="1" latinLnBrk="0" hangingPunct="1">
              <a:defRPr sz="1800" kern="1200">
                <a:solidFill>
                  <a:schemeClr val="tx1"/>
                </a:solidFill>
                <a:latin typeface="+mn-lt"/>
                <a:ea typeface="+mn-ea"/>
                <a:cs typeface="+mn-cs"/>
              </a:defRPr>
            </a:lvl6pPr>
            <a:lvl7pPr marL="2797212" algn="l" defTabSz="932404" rtl="0" eaLnBrk="1" latinLnBrk="0" hangingPunct="1">
              <a:defRPr sz="1800" kern="1200">
                <a:solidFill>
                  <a:schemeClr val="tx1"/>
                </a:solidFill>
                <a:latin typeface="+mn-lt"/>
                <a:ea typeface="+mn-ea"/>
                <a:cs typeface="+mn-cs"/>
              </a:defRPr>
            </a:lvl7pPr>
            <a:lvl8pPr marL="3263415" algn="l" defTabSz="932404" rtl="0" eaLnBrk="1" latinLnBrk="0" hangingPunct="1">
              <a:defRPr sz="1800" kern="1200">
                <a:solidFill>
                  <a:schemeClr val="tx1"/>
                </a:solidFill>
                <a:latin typeface="+mn-lt"/>
                <a:ea typeface="+mn-ea"/>
                <a:cs typeface="+mn-cs"/>
              </a:defRPr>
            </a:lvl8pPr>
            <a:lvl9pPr marL="3729618" algn="l" defTabSz="932404" rtl="0" eaLnBrk="1" latinLnBrk="0" hangingPunct="1">
              <a:defRPr sz="1800" kern="1200">
                <a:solidFill>
                  <a:schemeClr val="tx1"/>
                </a:solidFill>
                <a:latin typeface="+mn-lt"/>
                <a:ea typeface="+mn-ea"/>
                <a:cs typeface="+mn-cs"/>
              </a:defRPr>
            </a:lvl9pPr>
          </a:lstStyle>
          <a:p>
            <a:pPr defTabSz="1243245"/>
            <a:endParaRPr lang="en-US" sz="1632">
              <a:solidFill>
                <a:srgbClr val="292929"/>
              </a:solidFill>
            </a:endParaRPr>
          </a:p>
        </p:txBody>
      </p:sp>
      <p:pic>
        <p:nvPicPr>
          <p:cNvPr id="19" name="Picture 18"/>
          <p:cNvPicPr>
            <a:picLocks noChangeAspect="1"/>
          </p:cNvPicPr>
          <p:nvPr/>
        </p:nvPicPr>
        <p:blipFill>
          <a:blip r:embed="rId4">
            <a:clrChange>
              <a:clrFrom>
                <a:srgbClr val="000000"/>
              </a:clrFrom>
              <a:clrTo>
                <a:srgbClr val="000000">
                  <a:alpha val="0"/>
                </a:srgbClr>
              </a:clrTo>
            </a:clrChange>
          </a:blip>
          <a:stretch>
            <a:fillRect/>
          </a:stretch>
        </p:blipFill>
        <p:spPr>
          <a:xfrm>
            <a:off x="6670934" y="3949700"/>
            <a:ext cx="1797904" cy="1784386"/>
          </a:xfrm>
          <a:prstGeom prst="rect">
            <a:avLst/>
          </a:prstGeom>
        </p:spPr>
      </p:pic>
    </p:spTree>
    <p:extLst>
      <p:ext uri="{BB962C8B-B14F-4D97-AF65-F5344CB8AC3E}">
        <p14:creationId xmlns:p14="http://schemas.microsoft.com/office/powerpoint/2010/main" val="1053147623"/>
      </p:ext>
    </p:extLst>
  </p:cSld>
  <p:clrMapOvr>
    <a:masterClrMapping/>
  </p:clrMapOvr>
  <p:transition spd="med">
    <p:cove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6083300" y="3365500"/>
            <a:ext cx="5220000" cy="2334641"/>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dirty="0" smtClean="0"/>
              <a:t>Réduire le nb d’IO, améliorer l’efficacité de la mémoire</a:t>
            </a:r>
            <a:endParaRPr lang="fr-FR" sz="2400" dirty="0"/>
          </a:p>
        </p:txBody>
      </p:sp>
      <p:sp>
        <p:nvSpPr>
          <p:cNvPr id="3" name="Titre 2"/>
          <p:cNvSpPr>
            <a:spLocks noGrp="1"/>
          </p:cNvSpPr>
          <p:nvPr>
            <p:ph type="title"/>
          </p:nvPr>
        </p:nvSpPr>
        <p:spPr/>
        <p:txBody>
          <a:bodyPr/>
          <a:lstStyle/>
          <a:p>
            <a:r>
              <a:rPr lang="fr-FR" dirty="0" smtClean="0"/>
              <a:t>Volumétrie, puissance de calcul</a:t>
            </a:r>
            <a:endParaRPr lang="fr-FR" dirty="0"/>
          </a:p>
        </p:txBody>
      </p:sp>
      <p:pic>
        <p:nvPicPr>
          <p:cNvPr id="12" name="Imag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78687" y="5677671"/>
            <a:ext cx="918224" cy="677860"/>
          </a:xfrm>
          <a:prstGeom prst="rect">
            <a:avLst/>
          </a:prstGeom>
        </p:spPr>
      </p:pic>
      <p:sp>
        <p:nvSpPr>
          <p:cNvPr id="13" name="Rectangle 12"/>
          <p:cNvSpPr/>
          <p:nvPr/>
        </p:nvSpPr>
        <p:spPr>
          <a:xfrm>
            <a:off x="6083300" y="932723"/>
            <a:ext cx="5220000" cy="2369190"/>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dirty="0" smtClean="0"/>
              <a:t>Augmentation du trafic </a:t>
            </a:r>
          </a:p>
          <a:p>
            <a:r>
              <a:rPr lang="fr-FR" sz="2400" dirty="0" smtClean="0"/>
              <a:t>(Transactions par seconde…)</a:t>
            </a:r>
            <a:endParaRPr lang="fr-FR" sz="2400" dirty="0"/>
          </a:p>
        </p:txBody>
      </p:sp>
      <p:sp>
        <p:nvSpPr>
          <p:cNvPr id="14" name="Rectangle 13"/>
          <p:cNvSpPr/>
          <p:nvPr/>
        </p:nvSpPr>
        <p:spPr>
          <a:xfrm>
            <a:off x="800099" y="932723"/>
            <a:ext cx="5220000" cy="2369191"/>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dirty="0" smtClean="0"/>
              <a:t>Hausse de la volumétrie (Go, To…)</a:t>
            </a:r>
            <a:endParaRPr lang="fr-FR" sz="2400" dirty="0"/>
          </a:p>
        </p:txBody>
      </p:sp>
      <p:sp>
        <p:nvSpPr>
          <p:cNvPr id="15" name="Rectangle 14"/>
          <p:cNvSpPr/>
          <p:nvPr/>
        </p:nvSpPr>
        <p:spPr>
          <a:xfrm>
            <a:off x="800099" y="3365500"/>
            <a:ext cx="5219999" cy="2334641"/>
          </a:xfrm>
          <a:prstGeom prst="rect">
            <a:avLst/>
          </a:pr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dirty="0" smtClean="0"/>
              <a:t>Optimiser le code, les index, le modèle de données</a:t>
            </a:r>
            <a:endParaRPr lang="fr-FR" sz="2400" dirty="0"/>
          </a:p>
        </p:txBody>
      </p:sp>
    </p:spTree>
    <p:extLst>
      <p:ext uri="{BB962C8B-B14F-4D97-AF65-F5344CB8AC3E}">
        <p14:creationId xmlns:p14="http://schemas.microsoft.com/office/powerpoint/2010/main" val="258035668"/>
      </p:ext>
    </p:extLst>
  </p:cSld>
  <p:clrMapOvr>
    <a:masterClrMapping/>
  </p:clrMapOvr>
  <p:transition spd="slow">
    <p:cove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Volumétrie, puissance de calcul</a:t>
            </a:r>
            <a:endParaRPr lang="fr-FR" dirty="0"/>
          </a:p>
        </p:txBody>
      </p:sp>
      <p:pic>
        <p:nvPicPr>
          <p:cNvPr id="12" name="Imag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78687" y="5677671"/>
            <a:ext cx="918224" cy="677860"/>
          </a:xfrm>
          <a:prstGeom prst="rect">
            <a:avLst/>
          </a:prstGeom>
        </p:spPr>
      </p:pic>
      <p:grpSp>
        <p:nvGrpSpPr>
          <p:cNvPr id="6" name="Group 5"/>
          <p:cNvGrpSpPr/>
          <p:nvPr/>
        </p:nvGrpSpPr>
        <p:grpSpPr>
          <a:xfrm>
            <a:off x="6185034" y="1034323"/>
            <a:ext cx="2880000" cy="4449571"/>
            <a:chOff x="6185034" y="1034323"/>
            <a:chExt cx="2880000" cy="4449571"/>
          </a:xfrm>
        </p:grpSpPr>
        <p:sp>
          <p:nvSpPr>
            <p:cNvPr id="10" name="Rectangle 9"/>
            <p:cNvSpPr/>
            <p:nvPr/>
          </p:nvSpPr>
          <p:spPr>
            <a:xfrm>
              <a:off x="6185034" y="2531894"/>
              <a:ext cx="2880000" cy="2952000"/>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fr-FR" sz="2400" dirty="0" smtClean="0"/>
            </a:p>
            <a:p>
              <a:r>
                <a:rPr lang="fr-FR" sz="2400" dirty="0" err="1" smtClean="0"/>
                <a:t>Column</a:t>
              </a:r>
              <a:r>
                <a:rPr lang="fr-FR" sz="2400" dirty="0" smtClean="0"/>
                <a:t> store index</a:t>
              </a:r>
            </a:p>
            <a:p>
              <a:endParaRPr lang="fr-FR" sz="2400" dirty="0"/>
            </a:p>
            <a:p>
              <a:r>
                <a:rPr lang="fr-FR" sz="2400" dirty="0" err="1" smtClean="0"/>
                <a:t>Scale</a:t>
              </a:r>
              <a:r>
                <a:rPr lang="fr-FR" sz="2400" dirty="0" smtClean="0"/>
                <a:t>-out avec </a:t>
              </a:r>
              <a:r>
                <a:rPr lang="fr-FR" sz="2400" dirty="0" err="1" smtClean="0"/>
                <a:t>AlwaysOn</a:t>
              </a:r>
              <a:r>
                <a:rPr lang="fr-FR" sz="2400" dirty="0" smtClean="0"/>
                <a:t> – </a:t>
              </a:r>
              <a:r>
                <a:rPr lang="fr-FR" sz="2400" dirty="0" err="1"/>
                <a:t>Availability</a:t>
              </a:r>
              <a:r>
                <a:rPr lang="fr-FR" sz="2400" dirty="0"/>
                <a:t> groups</a:t>
              </a:r>
              <a:endParaRPr lang="fr-FR" sz="2400" dirty="0" smtClean="0"/>
            </a:p>
          </p:txBody>
        </p:sp>
        <p:pic>
          <p:nvPicPr>
            <p:cNvPr id="13" name="Picture 6" descr="http://blogs.technet.com/cfs-file.ashx/__key/communityserver-blogs-components-weblogfiles/00-00-00-94-25/6428.SQL12_5F00_v_5F00_rgb.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28735" y="1034323"/>
              <a:ext cx="2292988" cy="14392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186057" y="958124"/>
            <a:ext cx="2880000" cy="4525770"/>
            <a:chOff x="3186057" y="958124"/>
            <a:chExt cx="2880000" cy="4525770"/>
          </a:xfrm>
        </p:grpSpPr>
        <p:sp>
          <p:nvSpPr>
            <p:cNvPr id="9" name="Rectangle 8"/>
            <p:cNvSpPr/>
            <p:nvPr/>
          </p:nvSpPr>
          <p:spPr>
            <a:xfrm>
              <a:off x="3186057" y="2531894"/>
              <a:ext cx="2880000" cy="2952000"/>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fr-FR" sz="2400" dirty="0" smtClean="0"/>
            </a:p>
            <a:p>
              <a:r>
                <a:rPr lang="fr-FR" sz="2400" dirty="0" smtClean="0"/>
                <a:t>Resource </a:t>
              </a:r>
              <a:r>
                <a:rPr lang="fr-FR" sz="2400" dirty="0" err="1"/>
                <a:t>Governor</a:t>
              </a:r>
              <a:endParaRPr lang="fr-FR" sz="2400" dirty="0"/>
            </a:p>
            <a:p>
              <a:endParaRPr lang="fr-FR" sz="2400" dirty="0" smtClean="0"/>
            </a:p>
            <a:p>
              <a:r>
                <a:rPr lang="fr-FR" sz="2400" dirty="0" smtClean="0"/>
                <a:t>Compression</a:t>
              </a:r>
            </a:p>
            <a:p>
              <a:endParaRPr lang="fr-FR" sz="2400" dirty="0" smtClean="0"/>
            </a:p>
            <a:p>
              <a:r>
                <a:rPr lang="fr-FR" sz="2400" dirty="0" err="1" smtClean="0"/>
                <a:t>StreamInsight</a:t>
              </a:r>
              <a:r>
                <a:rPr lang="fr-FR" sz="2400" dirty="0" smtClean="0"/>
                <a:t> (R2)</a:t>
              </a:r>
            </a:p>
            <a:p>
              <a:endParaRPr lang="fr-FR" sz="2400" dirty="0" smtClean="0"/>
            </a:p>
            <a:p>
              <a:r>
                <a:rPr lang="fr-FR" sz="2400" dirty="0" smtClean="0"/>
                <a:t>PDW</a:t>
              </a:r>
              <a:endParaRPr lang="fr-FR" sz="2400" dirty="0"/>
            </a:p>
            <a:p>
              <a:endParaRPr lang="fr-FR" sz="2400" dirty="0" smtClean="0"/>
            </a:p>
          </p:txBody>
        </p:sp>
        <p:pic>
          <p:nvPicPr>
            <p:cNvPr id="2050" name="Picture 2" descr="http://blog.iweb.com/en/wp-content/uploads/2010/06/sqlserver2-300x187.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01463" y="958124"/>
              <a:ext cx="2478638" cy="154501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210703" y="1407419"/>
            <a:ext cx="2880000" cy="4076475"/>
            <a:chOff x="210703" y="1407419"/>
            <a:chExt cx="2880000" cy="4076475"/>
          </a:xfrm>
        </p:grpSpPr>
        <p:sp>
          <p:nvSpPr>
            <p:cNvPr id="8" name="Rectangle 7"/>
            <p:cNvSpPr/>
            <p:nvPr/>
          </p:nvSpPr>
          <p:spPr>
            <a:xfrm>
              <a:off x="210703" y="2531894"/>
              <a:ext cx="2880000" cy="2952000"/>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fr-FR" sz="2400" dirty="0" smtClean="0"/>
            </a:p>
            <a:p>
              <a:r>
                <a:rPr lang="fr-FR" sz="2400" dirty="0" smtClean="0"/>
                <a:t>Partitionnement</a:t>
              </a:r>
              <a:endParaRPr lang="fr-FR" sz="2400" dirty="0"/>
            </a:p>
          </p:txBody>
        </p:sp>
        <p:pic>
          <p:nvPicPr>
            <p:cNvPr id="14" name="Picture 13"/>
            <p:cNvPicPr>
              <a:picLocks noChangeAspect="1"/>
            </p:cNvPicPr>
            <p:nvPr/>
          </p:nvPicPr>
          <p:blipFill>
            <a:blip r:embed="rId6"/>
            <a:stretch>
              <a:fillRect/>
            </a:stretch>
          </p:blipFill>
          <p:spPr>
            <a:xfrm>
              <a:off x="256409" y="1407419"/>
              <a:ext cx="2834294" cy="1124475"/>
            </a:xfrm>
            <a:prstGeom prst="rect">
              <a:avLst/>
            </a:prstGeom>
          </p:spPr>
        </p:pic>
      </p:grpSp>
      <p:grpSp>
        <p:nvGrpSpPr>
          <p:cNvPr id="7" name="Group 6"/>
          <p:cNvGrpSpPr/>
          <p:nvPr/>
        </p:nvGrpSpPr>
        <p:grpSpPr>
          <a:xfrm>
            <a:off x="9171312" y="1511300"/>
            <a:ext cx="2886703" cy="3972594"/>
            <a:chOff x="9171312" y="1511300"/>
            <a:chExt cx="2886703" cy="3972594"/>
          </a:xfrm>
        </p:grpSpPr>
        <p:sp>
          <p:nvSpPr>
            <p:cNvPr id="11" name="Rectangle 10"/>
            <p:cNvSpPr/>
            <p:nvPr/>
          </p:nvSpPr>
          <p:spPr>
            <a:xfrm>
              <a:off x="9171313" y="2531894"/>
              <a:ext cx="2880000" cy="2952000"/>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fr-FR" sz="2400" dirty="0" smtClean="0"/>
            </a:p>
            <a:p>
              <a:r>
                <a:rPr lang="fr-FR" sz="2400" dirty="0" smtClean="0"/>
                <a:t>In Memory ( </a:t>
              </a:r>
              <a:r>
                <a:rPr lang="fr-FR" sz="2400" dirty="0" err="1" smtClean="0"/>
                <a:t>Hekaton</a:t>
              </a:r>
              <a:r>
                <a:rPr lang="fr-FR" sz="2400" dirty="0" smtClean="0"/>
                <a:t>)</a:t>
              </a:r>
            </a:p>
            <a:p>
              <a:endParaRPr lang="fr-FR" sz="2400" dirty="0"/>
            </a:p>
            <a:p>
              <a:r>
                <a:rPr lang="fr-FR" sz="2400" dirty="0" smtClean="0"/>
                <a:t>SSD en extension du buffer pool</a:t>
              </a:r>
            </a:p>
          </p:txBody>
        </p:sp>
        <p:pic>
          <p:nvPicPr>
            <p:cNvPr id="2" name="Picture 1"/>
            <p:cNvPicPr>
              <a:picLocks noChangeAspect="1"/>
            </p:cNvPicPr>
            <p:nvPr/>
          </p:nvPicPr>
          <p:blipFill>
            <a:blip r:embed="rId7"/>
            <a:stretch>
              <a:fillRect/>
            </a:stretch>
          </p:blipFill>
          <p:spPr>
            <a:xfrm>
              <a:off x="9171312" y="1511300"/>
              <a:ext cx="2886703" cy="991842"/>
            </a:xfrm>
            <a:prstGeom prst="rect">
              <a:avLst/>
            </a:prstGeom>
          </p:spPr>
        </p:pic>
      </p:grpSp>
    </p:spTree>
    <p:extLst>
      <p:ext uri="{BB962C8B-B14F-4D97-AF65-F5344CB8AC3E}">
        <p14:creationId xmlns:p14="http://schemas.microsoft.com/office/powerpoint/2010/main" val="47465435"/>
      </p:ext>
    </p:extLst>
  </p:cSld>
  <p:clrMapOvr>
    <a:masterClrMapping/>
  </p:clrMapOvr>
  <p:transition spd="slow" advTm="384714">
    <p:cove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PRA, </a:t>
            </a:r>
            <a:r>
              <a:rPr lang="fr-FR" dirty="0"/>
              <a:t>Haute </a:t>
            </a:r>
            <a:r>
              <a:rPr lang="fr-FR" dirty="0" smtClean="0"/>
              <a:t>disponibilité</a:t>
            </a:r>
            <a:endParaRPr lang="fr-FR" dirty="0"/>
          </a:p>
        </p:txBody>
      </p:sp>
      <p:pic>
        <p:nvPicPr>
          <p:cNvPr id="12" name="Imag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78687" y="5677671"/>
            <a:ext cx="918224" cy="677860"/>
          </a:xfrm>
          <a:prstGeom prst="rect">
            <a:avLst/>
          </a:prstGeom>
        </p:spPr>
      </p:pic>
      <p:grpSp>
        <p:nvGrpSpPr>
          <p:cNvPr id="16" name="Group 15"/>
          <p:cNvGrpSpPr/>
          <p:nvPr/>
        </p:nvGrpSpPr>
        <p:grpSpPr>
          <a:xfrm>
            <a:off x="210452" y="1489527"/>
            <a:ext cx="2888347" cy="3975580"/>
            <a:chOff x="210452" y="1489527"/>
            <a:chExt cx="2888347" cy="3975580"/>
          </a:xfrm>
        </p:grpSpPr>
        <p:sp>
          <p:nvSpPr>
            <p:cNvPr id="8" name="Rectangle 7"/>
            <p:cNvSpPr/>
            <p:nvPr/>
          </p:nvSpPr>
          <p:spPr>
            <a:xfrm>
              <a:off x="210452" y="2585107"/>
              <a:ext cx="2880000" cy="28800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lvl="0" indent="-342900">
                <a:buFont typeface="Arial" panose="020B0604020202020204" pitchFamily="34" charset="0"/>
                <a:buChar char="•"/>
              </a:pPr>
              <a:endParaRPr lang="fr-FR" sz="2400" dirty="0" smtClean="0">
                <a:solidFill>
                  <a:prstClr val="white"/>
                </a:solidFill>
              </a:endParaRPr>
            </a:p>
            <a:p>
              <a:r>
                <a:rPr lang="fr-FR" sz="2400" dirty="0"/>
                <a:t>Reprise d’activité</a:t>
              </a:r>
            </a:p>
            <a:p>
              <a:pPr marL="342900" lvl="0" indent="-342900">
                <a:buFont typeface="Arial" panose="020B0604020202020204" pitchFamily="34" charset="0"/>
                <a:buChar char="•"/>
              </a:pPr>
              <a:endParaRPr lang="fr-FR" sz="2400" dirty="0">
                <a:solidFill>
                  <a:prstClr val="white"/>
                </a:solidFill>
              </a:endParaRPr>
            </a:p>
            <a:p>
              <a:pPr marL="342900" lvl="0" indent="-342900">
                <a:buFont typeface="Arial" panose="020B0604020202020204" pitchFamily="34" charset="0"/>
                <a:buChar char="•"/>
              </a:pPr>
              <a:r>
                <a:rPr lang="fr-FR" sz="2400" dirty="0" smtClean="0">
                  <a:solidFill>
                    <a:prstClr val="white"/>
                  </a:solidFill>
                </a:rPr>
                <a:t>Backup/Restore</a:t>
              </a:r>
            </a:p>
            <a:p>
              <a:pPr marL="342900" lvl="0" indent="-342900">
                <a:buFont typeface="Arial" panose="020B0604020202020204" pitchFamily="34" charset="0"/>
                <a:buChar char="•"/>
              </a:pPr>
              <a:r>
                <a:rPr lang="fr-FR" sz="2400" dirty="0" smtClean="0">
                  <a:solidFill>
                    <a:prstClr val="white"/>
                  </a:solidFill>
                </a:rPr>
                <a:t>Log </a:t>
              </a:r>
              <a:r>
                <a:rPr lang="fr-FR" sz="2400" dirty="0">
                  <a:solidFill>
                    <a:prstClr val="white"/>
                  </a:solidFill>
                </a:rPr>
                <a:t>Shipping</a:t>
              </a:r>
            </a:p>
            <a:p>
              <a:pPr marL="342900" indent="-342900">
                <a:buFont typeface="Arial" panose="020B0604020202020204" pitchFamily="34" charset="0"/>
                <a:buChar char="•"/>
              </a:pPr>
              <a:r>
                <a:rPr lang="fr-FR" sz="2400" dirty="0" smtClean="0">
                  <a:solidFill>
                    <a:prstClr val="white"/>
                  </a:solidFill>
                </a:rPr>
                <a:t>Cluster</a:t>
              </a:r>
              <a:endParaRPr lang="fr-FR" sz="2400" dirty="0">
                <a:solidFill>
                  <a:prstClr val="white"/>
                </a:solidFill>
              </a:endParaRPr>
            </a:p>
            <a:p>
              <a:endParaRPr lang="fr-FR" sz="2400" dirty="0" smtClean="0"/>
            </a:p>
            <a:p>
              <a:endParaRPr lang="fr-FR" sz="2400" dirty="0"/>
            </a:p>
            <a:p>
              <a:endParaRPr lang="fr-FR" sz="2400" dirty="0" smtClean="0"/>
            </a:p>
            <a:p>
              <a:endParaRPr lang="fr-FR" sz="2400" dirty="0"/>
            </a:p>
          </p:txBody>
        </p:sp>
        <p:pic>
          <p:nvPicPr>
            <p:cNvPr id="1026" name="Picture 2" descr="http://www.akadia.com/images/image001.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0452" y="1489527"/>
              <a:ext cx="2888347" cy="10955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3164645" y="1460632"/>
            <a:ext cx="2904226" cy="4004475"/>
            <a:chOff x="3164645" y="1460632"/>
            <a:chExt cx="2904226" cy="4004475"/>
          </a:xfrm>
        </p:grpSpPr>
        <p:sp>
          <p:nvSpPr>
            <p:cNvPr id="9" name="Rectangle 8"/>
            <p:cNvSpPr/>
            <p:nvPr/>
          </p:nvSpPr>
          <p:spPr>
            <a:xfrm>
              <a:off x="3188871" y="2585107"/>
              <a:ext cx="2880000" cy="28800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fr-FR" sz="2400" dirty="0" smtClean="0">
                <a:solidFill>
                  <a:prstClr val="white"/>
                </a:solidFill>
              </a:endParaRPr>
            </a:p>
            <a:p>
              <a:r>
                <a:rPr lang="fr-FR" sz="2400" dirty="0" smtClean="0"/>
                <a:t>Continuité d’activité</a:t>
              </a:r>
              <a:endParaRPr lang="fr-FR" sz="2400" dirty="0"/>
            </a:p>
            <a:p>
              <a:pPr marL="342900" indent="-342900">
                <a:buFont typeface="Arial" panose="020B0604020202020204" pitchFamily="34" charset="0"/>
                <a:buChar char="•"/>
              </a:pPr>
              <a:endParaRPr lang="fr-FR" sz="2400" dirty="0">
                <a:solidFill>
                  <a:prstClr val="white"/>
                </a:solidFill>
              </a:endParaRPr>
            </a:p>
            <a:p>
              <a:pPr marL="342900" indent="-342900">
                <a:buFont typeface="Arial" panose="020B0604020202020204" pitchFamily="34" charset="0"/>
                <a:buChar char="•"/>
              </a:pPr>
              <a:r>
                <a:rPr lang="fr-FR" sz="2400" dirty="0" err="1" smtClean="0">
                  <a:solidFill>
                    <a:prstClr val="white"/>
                  </a:solidFill>
                </a:rPr>
                <a:t>Mirroring</a:t>
              </a:r>
              <a:endParaRPr lang="fr-FR" sz="2400" dirty="0">
                <a:solidFill>
                  <a:prstClr val="white"/>
                </a:solidFill>
              </a:endParaRPr>
            </a:p>
            <a:p>
              <a:pPr marL="342900" indent="-342900">
                <a:buFont typeface="Arial" panose="020B0604020202020204" pitchFamily="34" charset="0"/>
                <a:buChar char="•"/>
              </a:pPr>
              <a:r>
                <a:rPr lang="fr-FR" sz="2400" dirty="0" err="1" smtClean="0"/>
                <a:t>GeoCluster</a:t>
              </a:r>
              <a:endParaRPr lang="fr-FR" sz="2400" dirty="0"/>
            </a:p>
            <a:p>
              <a:endParaRPr lang="fr-FR" sz="2400" dirty="0"/>
            </a:p>
          </p:txBody>
        </p:sp>
        <p:pic>
          <p:nvPicPr>
            <p:cNvPr id="13" name="Picture 12"/>
            <p:cNvPicPr>
              <a:picLocks noChangeAspect="1"/>
            </p:cNvPicPr>
            <p:nvPr/>
          </p:nvPicPr>
          <p:blipFill>
            <a:blip r:embed="rId5"/>
            <a:stretch>
              <a:fillRect/>
            </a:stretch>
          </p:blipFill>
          <p:spPr>
            <a:xfrm>
              <a:off x="3164645" y="1460632"/>
              <a:ext cx="2834294" cy="1124475"/>
            </a:xfrm>
            <a:prstGeom prst="rect">
              <a:avLst/>
            </a:prstGeom>
          </p:spPr>
        </p:pic>
      </p:grpSp>
      <p:grpSp>
        <p:nvGrpSpPr>
          <p:cNvPr id="18" name="Group 17"/>
          <p:cNvGrpSpPr/>
          <p:nvPr/>
        </p:nvGrpSpPr>
        <p:grpSpPr>
          <a:xfrm>
            <a:off x="6147971" y="1186723"/>
            <a:ext cx="2880000" cy="4278384"/>
            <a:chOff x="6147971" y="1186723"/>
            <a:chExt cx="2880000" cy="4278384"/>
          </a:xfrm>
        </p:grpSpPr>
        <p:sp>
          <p:nvSpPr>
            <p:cNvPr id="10" name="Rectangle 9"/>
            <p:cNvSpPr/>
            <p:nvPr/>
          </p:nvSpPr>
          <p:spPr>
            <a:xfrm>
              <a:off x="6147971" y="2585107"/>
              <a:ext cx="2880000" cy="28800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fr-FR" sz="2400" dirty="0" smtClean="0"/>
            </a:p>
            <a:p>
              <a:r>
                <a:rPr lang="fr-FR" sz="2400" dirty="0" smtClean="0"/>
                <a:t>Très Haute disponibilité</a:t>
              </a:r>
            </a:p>
            <a:p>
              <a:endParaRPr lang="fr-FR" sz="2400" dirty="0"/>
            </a:p>
            <a:p>
              <a:pPr marL="168275" lvl="0" indent="-168275">
                <a:buFont typeface="Arial" panose="020B0604020202020204" pitchFamily="34" charset="0"/>
                <a:buChar char="•"/>
              </a:pPr>
              <a:r>
                <a:rPr lang="fr-FR" sz="2400" dirty="0" err="1" smtClean="0">
                  <a:solidFill>
                    <a:prstClr val="white"/>
                  </a:solidFill>
                </a:rPr>
                <a:t>AlwaysOn</a:t>
              </a:r>
              <a:r>
                <a:rPr lang="fr-FR" sz="2400" dirty="0" smtClean="0">
                  <a:solidFill>
                    <a:prstClr val="white"/>
                  </a:solidFill>
                </a:rPr>
                <a:t> – </a:t>
              </a:r>
              <a:r>
                <a:rPr lang="fr-FR" sz="2400" dirty="0" err="1"/>
                <a:t>Availability</a:t>
              </a:r>
              <a:r>
                <a:rPr lang="fr-FR" sz="2400" dirty="0"/>
                <a:t> groups</a:t>
              </a:r>
            </a:p>
          </p:txBody>
        </p:sp>
        <p:pic>
          <p:nvPicPr>
            <p:cNvPr id="1030" name="Picture 6" descr="http://blogs.technet.com/cfs-file.ashx/__key/communityserver-blogs-components-weblogfiles/00-00-00-94-25/6428.SQL12_5F00_v_5F00_rg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28735" y="1186723"/>
              <a:ext cx="2292988" cy="14392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9105260" y="1409630"/>
            <a:ext cx="2880000" cy="4055477"/>
            <a:chOff x="9105260" y="1409630"/>
            <a:chExt cx="2880000" cy="4055477"/>
          </a:xfrm>
        </p:grpSpPr>
        <p:sp>
          <p:nvSpPr>
            <p:cNvPr id="11" name="Rectangle 10"/>
            <p:cNvSpPr/>
            <p:nvPr/>
          </p:nvSpPr>
          <p:spPr>
            <a:xfrm>
              <a:off x="9105260" y="2585107"/>
              <a:ext cx="2880000" cy="2880000"/>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2400" dirty="0" smtClean="0"/>
                <a:t>Réduction des coûts d’infrastructure</a:t>
              </a:r>
            </a:p>
            <a:p>
              <a:endParaRPr lang="fr-FR" sz="2400" dirty="0" smtClean="0"/>
            </a:p>
            <a:p>
              <a:pPr marL="168275" lvl="0" indent="-168275">
                <a:buFont typeface="Arial" panose="020B0604020202020204" pitchFamily="34" charset="0"/>
                <a:buChar char="•"/>
              </a:pPr>
              <a:r>
                <a:rPr lang="fr-FR" sz="2000" dirty="0" smtClean="0">
                  <a:solidFill>
                    <a:prstClr val="white"/>
                  </a:solidFill>
                </a:rPr>
                <a:t>Virtualisation</a:t>
              </a:r>
            </a:p>
            <a:p>
              <a:pPr marL="168275" lvl="0" indent="-168275">
                <a:buFont typeface="Arial" panose="020B0604020202020204" pitchFamily="34" charset="0"/>
                <a:buChar char="•"/>
              </a:pPr>
              <a:r>
                <a:rPr lang="fr-FR" sz="2000" dirty="0" smtClean="0">
                  <a:solidFill>
                    <a:prstClr val="white"/>
                  </a:solidFill>
                </a:rPr>
                <a:t>Azure </a:t>
              </a:r>
            </a:p>
            <a:p>
              <a:pPr marL="168275" lvl="0" indent="-168275">
                <a:buFont typeface="Arial" panose="020B0604020202020204" pitchFamily="34" charset="0"/>
                <a:buChar char="•"/>
              </a:pPr>
              <a:r>
                <a:rPr lang="fr-FR" sz="2000" dirty="0" smtClean="0">
                  <a:solidFill>
                    <a:prstClr val="white"/>
                  </a:solidFill>
                </a:rPr>
                <a:t>Infrastructure Hybride</a:t>
              </a:r>
              <a:endParaRPr lang="fr-FR" sz="2000" dirty="0">
                <a:solidFill>
                  <a:prstClr val="white"/>
                </a:solidFill>
              </a:endParaRPr>
            </a:p>
            <a:p>
              <a:endParaRPr lang="fr-FR" sz="2400" dirty="0"/>
            </a:p>
          </p:txBody>
        </p:sp>
        <p:pic>
          <p:nvPicPr>
            <p:cNvPr id="15" name="Picture 14"/>
            <p:cNvPicPr>
              <a:picLocks noChangeAspect="1"/>
            </p:cNvPicPr>
            <p:nvPr/>
          </p:nvPicPr>
          <p:blipFill>
            <a:blip r:embed="rId7"/>
            <a:stretch>
              <a:fillRect/>
            </a:stretch>
          </p:blipFill>
          <p:spPr>
            <a:xfrm>
              <a:off x="9105260" y="1409630"/>
              <a:ext cx="2877914" cy="1148184"/>
            </a:xfrm>
            <a:prstGeom prst="rect">
              <a:avLst/>
            </a:prstGeom>
          </p:spPr>
        </p:pic>
      </p:grpSp>
    </p:spTree>
    <p:extLst>
      <p:ext uri="{BB962C8B-B14F-4D97-AF65-F5344CB8AC3E}">
        <p14:creationId xmlns:p14="http://schemas.microsoft.com/office/powerpoint/2010/main" val="1742481676"/>
      </p:ext>
    </p:extLst>
  </p:cSld>
  <p:clrMapOvr>
    <a:masterClrMapping/>
  </p:clrMapOvr>
  <p:transition spd="slow" advTm="170807">
    <p:cove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Sécurité</a:t>
            </a:r>
            <a:endParaRPr lang="fr-FR" dirty="0"/>
          </a:p>
        </p:txBody>
      </p:sp>
      <p:sp>
        <p:nvSpPr>
          <p:cNvPr id="12" name="Rectangle 11"/>
          <p:cNvSpPr/>
          <p:nvPr/>
        </p:nvSpPr>
        <p:spPr>
          <a:xfrm>
            <a:off x="201556" y="2635318"/>
            <a:ext cx="2880000" cy="2880000"/>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Char char="•"/>
            </a:pPr>
            <a:r>
              <a:rPr lang="fr-FR" sz="2400" dirty="0"/>
              <a:t>Login </a:t>
            </a:r>
            <a:r>
              <a:rPr lang="fr-FR" sz="2400" dirty="0" err="1"/>
              <a:t>sql</a:t>
            </a:r>
            <a:endParaRPr lang="fr-FR" sz="2400" dirty="0"/>
          </a:p>
          <a:p>
            <a:endParaRPr lang="fr-FR" sz="2400" dirty="0" smtClean="0"/>
          </a:p>
          <a:p>
            <a:r>
              <a:rPr lang="fr-FR" sz="2400" dirty="0" smtClean="0"/>
              <a:t>« sa » pour tous !</a:t>
            </a:r>
            <a:endParaRPr lang="fr-FR" sz="2400" dirty="0"/>
          </a:p>
        </p:txBody>
      </p:sp>
      <p:sp>
        <p:nvSpPr>
          <p:cNvPr id="13" name="Rectangle 12"/>
          <p:cNvSpPr/>
          <p:nvPr/>
        </p:nvSpPr>
        <p:spPr>
          <a:xfrm>
            <a:off x="3187798" y="2635318"/>
            <a:ext cx="2880000" cy="2880000"/>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Char char="•"/>
            </a:pPr>
            <a:r>
              <a:rPr lang="fr-FR" sz="2400" dirty="0" smtClean="0"/>
              <a:t>Authentification Windows privilégiée</a:t>
            </a:r>
          </a:p>
          <a:p>
            <a:pPr marL="342900" indent="-342900">
              <a:buFont typeface="Arial" panose="020B0604020202020204" pitchFamily="34" charset="0"/>
              <a:buChar char="•"/>
            </a:pPr>
            <a:r>
              <a:rPr lang="fr-FR" sz="2400" dirty="0" smtClean="0"/>
              <a:t>Rôles serveur/bases</a:t>
            </a:r>
          </a:p>
          <a:p>
            <a:pPr marL="342900" indent="-342900">
              <a:buFont typeface="Arial" panose="020B0604020202020204" pitchFamily="34" charset="0"/>
              <a:buChar char="•"/>
            </a:pPr>
            <a:r>
              <a:rPr lang="fr-FR" sz="2400" dirty="0"/>
              <a:t>P</a:t>
            </a:r>
            <a:r>
              <a:rPr lang="fr-FR" sz="2400" dirty="0" smtClean="0"/>
              <a:t>roxys</a:t>
            </a:r>
            <a:endParaRPr lang="fr-FR" sz="2400" dirty="0"/>
          </a:p>
          <a:p>
            <a:endParaRPr lang="fr-FR" sz="2400" dirty="0"/>
          </a:p>
        </p:txBody>
      </p:sp>
      <p:sp>
        <p:nvSpPr>
          <p:cNvPr id="15" name="Rectangle 14"/>
          <p:cNvSpPr/>
          <p:nvPr/>
        </p:nvSpPr>
        <p:spPr>
          <a:xfrm>
            <a:off x="6172300" y="2635318"/>
            <a:ext cx="2880000" cy="2880000"/>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Char char="•"/>
            </a:pPr>
            <a:r>
              <a:rPr lang="fr-FR" sz="2400" dirty="0" smtClean="0"/>
              <a:t>Certificats</a:t>
            </a:r>
          </a:p>
          <a:p>
            <a:pPr marL="342900" indent="-342900">
              <a:buFont typeface="Arial" panose="020B0604020202020204" pitchFamily="34" charset="0"/>
              <a:buChar char="•"/>
            </a:pPr>
            <a:r>
              <a:rPr lang="fr-FR" sz="2400" dirty="0" smtClean="0"/>
              <a:t>Audits</a:t>
            </a:r>
          </a:p>
          <a:p>
            <a:pPr marL="342900" indent="-342900">
              <a:buFont typeface="Arial" panose="020B0604020202020204" pitchFamily="34" charset="0"/>
              <a:buChar char="•"/>
            </a:pPr>
            <a:r>
              <a:rPr lang="fr-FR" sz="2400" dirty="0" smtClean="0"/>
              <a:t>TDE - Transparent Data </a:t>
            </a:r>
            <a:r>
              <a:rPr lang="fr-FR" sz="2400" dirty="0" err="1" smtClean="0"/>
              <a:t>Encryption</a:t>
            </a:r>
            <a:endParaRPr lang="fr-FR" sz="2400" dirty="0" smtClean="0"/>
          </a:p>
          <a:p>
            <a:pPr marL="342900" indent="-342900">
              <a:buFont typeface="Arial" panose="020B0604020202020204" pitchFamily="34" charset="0"/>
              <a:buChar char="•"/>
            </a:pPr>
            <a:r>
              <a:rPr lang="fr-FR" sz="2400" dirty="0"/>
              <a:t>permissions </a:t>
            </a:r>
            <a:r>
              <a:rPr lang="fr-FR" sz="2400" dirty="0" smtClean="0"/>
              <a:t>sur </a:t>
            </a:r>
            <a:r>
              <a:rPr lang="fr-FR" sz="2400" dirty="0" err="1" smtClean="0"/>
              <a:t>securables</a:t>
            </a:r>
            <a:endParaRPr lang="fr-FR" sz="2400" dirty="0" smtClean="0"/>
          </a:p>
        </p:txBody>
      </p:sp>
      <p:sp>
        <p:nvSpPr>
          <p:cNvPr id="16" name="Rectangle 15"/>
          <p:cNvSpPr/>
          <p:nvPr/>
        </p:nvSpPr>
        <p:spPr>
          <a:xfrm>
            <a:off x="9164128" y="2635316"/>
            <a:ext cx="2880000" cy="2880000"/>
          </a:xfrm>
          <a:prstGeom prst="rect">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Char char="•"/>
            </a:pPr>
            <a:r>
              <a:rPr lang="fr-FR" sz="2400" dirty="0" smtClean="0"/>
              <a:t>Restrictions possibles sur comptes </a:t>
            </a:r>
            <a:r>
              <a:rPr lang="fr-FR" sz="2400" dirty="0" err="1" smtClean="0"/>
              <a:t>sysadmin</a:t>
            </a:r>
            <a:endParaRPr lang="fr-FR" sz="2400" dirty="0" smtClean="0"/>
          </a:p>
          <a:p>
            <a:pPr marL="342900" indent="-342900">
              <a:buFont typeface="Arial" panose="020B0604020202020204" pitchFamily="34" charset="0"/>
              <a:buChar char="•"/>
            </a:pPr>
            <a:endParaRPr lang="fr-FR" sz="2400" dirty="0" smtClean="0"/>
          </a:p>
          <a:p>
            <a:pPr marL="342900" indent="-342900">
              <a:buFont typeface="Arial" panose="020B0604020202020204" pitchFamily="34" charset="0"/>
              <a:buChar char="•"/>
            </a:pPr>
            <a:r>
              <a:rPr lang="fr-FR" sz="2400" dirty="0" smtClean="0"/>
              <a:t>Cryptage backup</a:t>
            </a:r>
            <a:endParaRPr lang="fr-FR" sz="2400" dirty="0"/>
          </a:p>
        </p:txBody>
      </p:sp>
      <p:pic>
        <p:nvPicPr>
          <p:cNvPr id="17" name="Imag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78687" y="5677671"/>
            <a:ext cx="918224" cy="677860"/>
          </a:xfrm>
          <a:prstGeom prst="rect">
            <a:avLst/>
          </a:prstGeom>
        </p:spPr>
      </p:pic>
      <p:pic>
        <p:nvPicPr>
          <p:cNvPr id="9" name="Picture 8"/>
          <p:cNvPicPr>
            <a:picLocks noChangeAspect="1"/>
          </p:cNvPicPr>
          <p:nvPr/>
        </p:nvPicPr>
        <p:blipFill>
          <a:blip r:embed="rId4"/>
          <a:stretch>
            <a:fillRect/>
          </a:stretch>
        </p:blipFill>
        <p:spPr>
          <a:xfrm>
            <a:off x="9157425" y="1618074"/>
            <a:ext cx="2886703" cy="991842"/>
          </a:xfrm>
          <a:prstGeom prst="rect">
            <a:avLst/>
          </a:prstGeom>
        </p:spPr>
      </p:pic>
      <p:pic>
        <p:nvPicPr>
          <p:cNvPr id="10" name="Picture 2" descr="http://blog.iweb.com/en/wp-content/uploads/2010/06/sqlserver2-300x187.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72981" y="1073845"/>
            <a:ext cx="2478638" cy="154501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6"/>
          <a:stretch>
            <a:fillRect/>
          </a:stretch>
        </p:blipFill>
        <p:spPr>
          <a:xfrm>
            <a:off x="3187798" y="1456733"/>
            <a:ext cx="2834294" cy="1124475"/>
          </a:xfrm>
          <a:prstGeom prst="rect">
            <a:avLst/>
          </a:prstGeom>
        </p:spPr>
      </p:pic>
      <p:pic>
        <p:nvPicPr>
          <p:cNvPr id="18" name="Picture 2" descr="http://www.akadia.com/images/image001.gi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3209" y="1485628"/>
            <a:ext cx="2888347" cy="1095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499503"/>
      </p:ext>
    </p:extLst>
  </p:cSld>
  <p:clrMapOvr>
    <a:masterClrMapping/>
  </p:clrMapOvr>
  <p:transition spd="slow" advTm="180133">
    <p:cove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Développement</a:t>
            </a:r>
            <a:endParaRPr lang="fr-FR" dirty="0"/>
          </a:p>
        </p:txBody>
      </p:sp>
      <p:sp>
        <p:nvSpPr>
          <p:cNvPr id="9" name="Rectangle 8"/>
          <p:cNvSpPr/>
          <p:nvPr/>
        </p:nvSpPr>
        <p:spPr>
          <a:xfrm>
            <a:off x="201556" y="2605889"/>
            <a:ext cx="2880000" cy="2880000"/>
          </a:xfrm>
          <a:prstGeom prst="rect">
            <a:avLst/>
          </a:pr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2400" dirty="0" err="1"/>
              <a:t>Transact</a:t>
            </a:r>
            <a:r>
              <a:rPr lang="fr-FR" sz="2400" dirty="0"/>
              <a:t> </a:t>
            </a:r>
            <a:r>
              <a:rPr lang="fr-FR" sz="2400" dirty="0" smtClean="0"/>
              <a:t>SQL</a:t>
            </a:r>
          </a:p>
          <a:p>
            <a:r>
              <a:rPr lang="fr-FR" sz="2400" dirty="0" smtClean="0"/>
              <a:t>Cmd</a:t>
            </a:r>
          </a:p>
          <a:p>
            <a:r>
              <a:rPr lang="fr-FR" sz="2400" dirty="0" smtClean="0"/>
              <a:t>bcp.exe</a:t>
            </a:r>
          </a:p>
          <a:p>
            <a:r>
              <a:rPr lang="fr-FR" sz="2400" dirty="0" smtClean="0"/>
              <a:t>osql.exe</a:t>
            </a:r>
          </a:p>
          <a:p>
            <a:r>
              <a:rPr lang="fr-FR" sz="2400" dirty="0" smtClean="0"/>
              <a:t>OLAP Service </a:t>
            </a:r>
            <a:r>
              <a:rPr lang="fr-FR" sz="2000" dirty="0" smtClean="0"/>
              <a:t>(MDX)</a:t>
            </a:r>
          </a:p>
        </p:txBody>
      </p:sp>
      <p:sp>
        <p:nvSpPr>
          <p:cNvPr id="10" name="Rectangle 9"/>
          <p:cNvSpPr/>
          <p:nvPr/>
        </p:nvSpPr>
        <p:spPr>
          <a:xfrm>
            <a:off x="3189687" y="2605889"/>
            <a:ext cx="2880000" cy="2880000"/>
          </a:xfrm>
          <a:prstGeom prst="rect">
            <a:avLst/>
          </a:pr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2400" dirty="0" smtClean="0"/>
              <a:t>SSIS </a:t>
            </a:r>
          </a:p>
          <a:p>
            <a:r>
              <a:rPr lang="fr-FR" sz="2400" dirty="0" smtClean="0"/>
              <a:t>SSRS</a:t>
            </a:r>
          </a:p>
          <a:p>
            <a:r>
              <a:rPr lang="fr-FR" sz="2400" dirty="0" smtClean="0"/>
              <a:t>SSAS</a:t>
            </a:r>
          </a:p>
          <a:p>
            <a:r>
              <a:rPr lang="fr-FR" sz="2400" dirty="0" smtClean="0"/>
              <a:t>CLR </a:t>
            </a:r>
            <a:r>
              <a:rPr lang="fr-FR" sz="2400" dirty="0"/>
              <a:t>.</a:t>
            </a:r>
            <a:r>
              <a:rPr lang="fr-FR" sz="2400" dirty="0" smtClean="0"/>
              <a:t>Net</a:t>
            </a:r>
          </a:p>
          <a:p>
            <a:r>
              <a:rPr lang="fr-FR" sz="2400" dirty="0" smtClean="0"/>
              <a:t>DMX</a:t>
            </a:r>
            <a:endParaRPr lang="fr-FR" sz="2400" dirty="0"/>
          </a:p>
        </p:txBody>
      </p:sp>
      <p:sp>
        <p:nvSpPr>
          <p:cNvPr id="17" name="Rectangle 16"/>
          <p:cNvSpPr/>
          <p:nvPr/>
        </p:nvSpPr>
        <p:spPr>
          <a:xfrm>
            <a:off x="6172199" y="2605887"/>
            <a:ext cx="2880000" cy="2880000"/>
          </a:xfrm>
          <a:prstGeom prst="rect">
            <a:avLst/>
          </a:pr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2400" dirty="0" err="1"/>
              <a:t>PowerView</a:t>
            </a:r>
            <a:endParaRPr lang="fr-FR" sz="2400" dirty="0"/>
          </a:p>
          <a:p>
            <a:r>
              <a:rPr lang="fr-FR" sz="2400" dirty="0" smtClean="0"/>
              <a:t>DAX </a:t>
            </a:r>
          </a:p>
          <a:p>
            <a:r>
              <a:rPr lang="fr-FR" sz="2400" dirty="0" err="1" smtClean="0"/>
              <a:t>PowerShell</a:t>
            </a:r>
            <a:endParaRPr lang="fr-FR" sz="2400" dirty="0"/>
          </a:p>
          <a:p>
            <a:r>
              <a:rPr lang="fr-FR" sz="2400" dirty="0" err="1" smtClean="0"/>
              <a:t>Sharepoint</a:t>
            </a:r>
            <a:endParaRPr lang="fr-FR" sz="2400" dirty="0" smtClean="0"/>
          </a:p>
          <a:p>
            <a:r>
              <a:rPr lang="fr-FR" sz="2400" dirty="0" smtClean="0"/>
              <a:t>MDS</a:t>
            </a:r>
          </a:p>
          <a:p>
            <a:r>
              <a:rPr lang="fr-FR" sz="2400" dirty="0" smtClean="0"/>
              <a:t>DQS</a:t>
            </a:r>
            <a:endParaRPr lang="fr-FR" sz="2400" dirty="0"/>
          </a:p>
        </p:txBody>
      </p:sp>
      <p:sp>
        <p:nvSpPr>
          <p:cNvPr id="18" name="Rectangle 17"/>
          <p:cNvSpPr/>
          <p:nvPr/>
        </p:nvSpPr>
        <p:spPr>
          <a:xfrm>
            <a:off x="9169572" y="2605889"/>
            <a:ext cx="2880000" cy="2880000"/>
          </a:xfrm>
          <a:prstGeom prst="rect">
            <a:avLst/>
          </a:prstGeom>
          <a:solidFill>
            <a:srgbClr val="00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2400" dirty="0" err="1" smtClean="0"/>
              <a:t>PowerBI</a:t>
            </a:r>
            <a:endParaRPr lang="fr-FR" sz="2400" dirty="0" smtClean="0"/>
          </a:p>
          <a:p>
            <a:r>
              <a:rPr lang="fr-FR" sz="2400" dirty="0" err="1" smtClean="0"/>
              <a:t>PowerShell</a:t>
            </a:r>
            <a:r>
              <a:rPr lang="fr-FR" sz="2400" dirty="0" smtClean="0"/>
              <a:t> ++</a:t>
            </a:r>
          </a:p>
          <a:p>
            <a:r>
              <a:rPr lang="fr-FR" sz="2400" dirty="0" err="1"/>
              <a:t>HDInsight</a:t>
            </a:r>
            <a:endParaRPr lang="fr-FR" sz="2400" dirty="0"/>
          </a:p>
          <a:p>
            <a:r>
              <a:rPr lang="fr-FR" sz="2400" dirty="0" smtClean="0"/>
              <a:t>HQL (</a:t>
            </a:r>
            <a:r>
              <a:rPr lang="fr-FR" sz="2400" dirty="0" err="1" smtClean="0"/>
              <a:t>Hive</a:t>
            </a:r>
            <a:r>
              <a:rPr lang="fr-FR" sz="2400" dirty="0" smtClean="0"/>
              <a:t>)</a:t>
            </a:r>
            <a:endParaRPr lang="fr-FR" sz="2400" dirty="0"/>
          </a:p>
          <a:p>
            <a:r>
              <a:rPr lang="fr-FR" sz="2400" dirty="0" err="1" smtClean="0"/>
              <a:t>NoSQL</a:t>
            </a:r>
            <a:endParaRPr lang="fr-FR" sz="2400" dirty="0" smtClean="0"/>
          </a:p>
          <a:p>
            <a:r>
              <a:rPr lang="fr-FR" sz="2400" dirty="0" smtClean="0"/>
              <a:t>…</a:t>
            </a:r>
            <a:endParaRPr lang="fr-FR" sz="2400" dirty="0"/>
          </a:p>
        </p:txBody>
      </p:sp>
      <p:pic>
        <p:nvPicPr>
          <p:cNvPr id="19" name="Imag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78687" y="5677671"/>
            <a:ext cx="918224" cy="677860"/>
          </a:xfrm>
          <a:prstGeom prst="rect">
            <a:avLst/>
          </a:prstGeom>
        </p:spPr>
      </p:pic>
      <p:pic>
        <p:nvPicPr>
          <p:cNvPr id="12" name="Picture 2" descr="http://www.akadia.com/images/image001.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3209" y="1485628"/>
            <a:ext cx="2888347" cy="109558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5"/>
          <a:stretch>
            <a:fillRect/>
          </a:stretch>
        </p:blipFill>
        <p:spPr>
          <a:xfrm>
            <a:off x="3164645" y="1435232"/>
            <a:ext cx="2834294" cy="1124475"/>
          </a:xfrm>
          <a:prstGeom prst="rect">
            <a:avLst/>
          </a:prstGeom>
        </p:spPr>
      </p:pic>
      <p:pic>
        <p:nvPicPr>
          <p:cNvPr id="2" name="Picture 1"/>
          <p:cNvPicPr>
            <a:picLocks noChangeAspect="1"/>
          </p:cNvPicPr>
          <p:nvPr/>
        </p:nvPicPr>
        <p:blipFill>
          <a:blip r:embed="rId6"/>
          <a:stretch>
            <a:fillRect/>
          </a:stretch>
        </p:blipFill>
        <p:spPr>
          <a:xfrm>
            <a:off x="6305869" y="996162"/>
            <a:ext cx="2486025" cy="1609725"/>
          </a:xfrm>
          <a:prstGeom prst="rect">
            <a:avLst/>
          </a:prstGeom>
        </p:spPr>
      </p:pic>
      <p:pic>
        <p:nvPicPr>
          <p:cNvPr id="14" name="Picture 13"/>
          <p:cNvPicPr>
            <a:picLocks noChangeAspect="1"/>
          </p:cNvPicPr>
          <p:nvPr/>
        </p:nvPicPr>
        <p:blipFill>
          <a:blip r:embed="rId7"/>
          <a:stretch>
            <a:fillRect/>
          </a:stretch>
        </p:blipFill>
        <p:spPr>
          <a:xfrm>
            <a:off x="9168760" y="1384230"/>
            <a:ext cx="2877914" cy="1148184"/>
          </a:xfrm>
          <a:prstGeom prst="rect">
            <a:avLst/>
          </a:prstGeom>
        </p:spPr>
      </p:pic>
    </p:spTree>
    <p:extLst>
      <p:ext uri="{BB962C8B-B14F-4D97-AF65-F5344CB8AC3E}">
        <p14:creationId xmlns:p14="http://schemas.microsoft.com/office/powerpoint/2010/main" val="3446970060"/>
      </p:ext>
    </p:extLst>
  </p:cSld>
  <p:clrMapOvr>
    <a:masterClrMapping/>
  </p:clrMapOvr>
  <p:transition spd="slow" advTm="108906">
    <p:cove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HKAs_sEo0e4Ng5b8w796Q"/>
</p:tagLst>
</file>

<file path=ppt/theme/theme1.xml><?xml version="1.0" encoding="utf-8"?>
<a:theme xmlns:a="http://schemas.openxmlformats.org/drawingml/2006/main" name="1_Office Theme">
  <a:themeElements>
    <a:clrScheme name="Personnalisé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C0504D"/>
      </a:hlink>
      <a:folHlink>
        <a:srgbClr val="C0504D"/>
      </a:folHlink>
    </a:clrScheme>
    <a:fontScheme name="TechDays 2013">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10</TotalTime>
  <Words>845</Words>
  <Application>Microsoft Office PowerPoint</Application>
  <PresentationFormat>Personnalisé</PresentationFormat>
  <Paragraphs>164</Paragraphs>
  <Slides>12</Slides>
  <Notes>8</Notes>
  <HiddenSlides>0</HiddenSlides>
  <MMClips>0</MMClips>
  <ScaleCrop>false</ScaleCrop>
  <HeadingPairs>
    <vt:vector size="4" baseType="variant">
      <vt:variant>
        <vt:lpstr>Thème</vt:lpstr>
      </vt:variant>
      <vt:variant>
        <vt:i4>1</vt:i4>
      </vt:variant>
      <vt:variant>
        <vt:lpstr>Titres des diapositives</vt:lpstr>
      </vt:variant>
      <vt:variant>
        <vt:i4>12</vt:i4>
      </vt:variant>
    </vt:vector>
  </HeadingPairs>
  <TitlesOfParts>
    <vt:vector size="13" baseType="lpstr">
      <vt:lpstr>1_Office Theme</vt:lpstr>
      <vt:lpstr>Présentation PowerPoint</vt:lpstr>
      <vt:lpstr>Présentation PowerPoint</vt:lpstr>
      <vt:lpstr>WAISSO</vt:lpstr>
      <vt:lpstr>10 ans de DBA…</vt:lpstr>
      <vt:lpstr>Volumétrie, puissance de calcul</vt:lpstr>
      <vt:lpstr>Volumétrie, puissance de calcul</vt:lpstr>
      <vt:lpstr>PRA, Haute disponibilité</vt:lpstr>
      <vt:lpstr>Sécurité</vt:lpstr>
      <vt:lpstr>Développement</vt:lpstr>
      <vt:lpstr>Conclusion</vt:lpstr>
      <vt:lpstr>Merci à nos sponsors</vt:lpstr>
      <vt:lpstr>Présentation PowerPoint</vt:lpstr>
    </vt:vector>
  </TitlesOfParts>
  <Company>AZE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an-Pierre Riehl</dc:creator>
  <cp:lastModifiedBy>Sham Unmar</cp:lastModifiedBy>
  <cp:revision>105</cp:revision>
  <dcterms:created xsi:type="dcterms:W3CDTF">2013-09-20T15:52:21Z</dcterms:created>
  <dcterms:modified xsi:type="dcterms:W3CDTF">2013-12-11T12:16:29Z</dcterms:modified>
</cp:coreProperties>
</file>